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15" r:id="rId4"/>
  </p:sldMasterIdLst>
  <p:notesMasterIdLst>
    <p:notesMasterId r:id="rId23"/>
  </p:notesMasterIdLst>
  <p:handoutMasterIdLst>
    <p:handoutMasterId r:id="rId24"/>
  </p:handoutMasterIdLst>
  <p:sldIdLst>
    <p:sldId id="266" r:id="rId5"/>
    <p:sldId id="2147473450" r:id="rId6"/>
    <p:sldId id="2147473468" r:id="rId7"/>
    <p:sldId id="295" r:id="rId8"/>
    <p:sldId id="290" r:id="rId9"/>
    <p:sldId id="282" r:id="rId10"/>
    <p:sldId id="2147481370" r:id="rId11"/>
    <p:sldId id="2147483632" r:id="rId12"/>
    <p:sldId id="287" r:id="rId13"/>
    <p:sldId id="288" r:id="rId14"/>
    <p:sldId id="296" r:id="rId15"/>
    <p:sldId id="297" r:id="rId16"/>
    <p:sldId id="280" r:id="rId17"/>
    <p:sldId id="2147473231" r:id="rId18"/>
    <p:sldId id="291" r:id="rId19"/>
    <p:sldId id="292" r:id="rId20"/>
    <p:sldId id="293" r:id="rId21"/>
    <p:sldId id="294" r:id="rId22"/>
  </p:sldIdLst>
  <p:sldSz cx="12192000" cy="6858000"/>
  <p:notesSz cx="6858000" cy="9144000"/>
  <p:embeddedFontLst>
    <p:embeddedFont>
      <p:font typeface="Fira Sans" panose="020B0503050000020004" pitchFamily="34" charset="0"/>
      <p:regular r:id="rId25"/>
      <p:bold r:id="rId26"/>
      <p:italic r:id="rId27"/>
      <p:boldItalic r:id="rId28"/>
    </p:embeddedFont>
    <p:embeddedFont>
      <p:font typeface="Fira Sans Condensed" panose="020B0503050000020004" pitchFamily="34" charset="0"/>
      <p:regular r:id="rId29"/>
      <p:bold r:id="rId30"/>
      <p:italic r:id="rId31"/>
      <p:boldItalic r:id="rId32"/>
    </p:embeddedFont>
    <p:embeddedFont>
      <p:font typeface="Segoe UI" panose="020B0502040204020203" pitchFamily="34" charset="0"/>
      <p:regular r:id="rId33"/>
      <p:bold r:id="rId34"/>
      <p:italic r:id="rId35"/>
      <p:boldItalic r:id="rId36"/>
    </p:embeddedFont>
  </p:embeddedFont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Tx/>
      <a:buNone/>
      <a:defRPr sz="14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Fira Sans" panose="020B0503050000020004" pitchFamily="34" charset="0"/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lnSpc>
        <a:spcPct val="100000"/>
      </a:lnSpc>
      <a:spcBef>
        <a:spcPts val="1200"/>
      </a:spcBef>
      <a:spcAft>
        <a:spcPts val="200"/>
      </a:spcAft>
      <a:buFont typeface="Symbol" panose="05050102010706020507" pitchFamily="18" charset="2"/>
      <a:buNone/>
      <a:defRPr sz="1600" b="1" kern="1200">
        <a:solidFill>
          <a:schemeClr val="tx2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Tx/>
      <a:buNone/>
      <a:defRPr sz="1400" b="0" kern="1200">
        <a:solidFill>
          <a:schemeClr val="tx1"/>
        </a:solidFill>
        <a:latin typeface="+mn-lt"/>
        <a:ea typeface="+mn-ea"/>
        <a:cs typeface="+mn-cs"/>
      </a:defRPr>
    </a:lvl6pPr>
    <a:lvl7pPr marL="144000" indent="-144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Fira Sans" panose="020B0503050000020004" pitchFamily="34" charset="0"/>
      <a:buChar char="&gt;"/>
      <a:defRPr sz="1000" b="0" kern="1200">
        <a:solidFill>
          <a:schemeClr val="tx1"/>
        </a:solidFill>
        <a:latin typeface="+mn-lt"/>
        <a:ea typeface="+mn-ea"/>
        <a:cs typeface="+mn-cs"/>
      </a:defRPr>
    </a:lvl7pPr>
    <a:lvl8pPr marL="288000" indent="-144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Fira Sans" panose="020B0503050000020004" pitchFamily="34" charset="0"/>
      <a:buChar char="&gt;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432000" indent="-14400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Clr>
        <a:schemeClr val="tx2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8848EB8-CF83-410B-894C-8D26C8B1B0F1}">
          <p14:sldIdLst>
            <p14:sldId id="266"/>
            <p14:sldId id="2147473450"/>
            <p14:sldId id="2147473468"/>
            <p14:sldId id="295"/>
            <p14:sldId id="290"/>
            <p14:sldId id="282"/>
            <p14:sldId id="2147481370"/>
            <p14:sldId id="2147483632"/>
            <p14:sldId id="287"/>
            <p14:sldId id="288"/>
            <p14:sldId id="296"/>
            <p14:sldId id="297"/>
            <p14:sldId id="280"/>
            <p14:sldId id="2147473231"/>
            <p14:sldId id="291"/>
            <p14:sldId id="292"/>
            <p14:sldId id="293"/>
            <p14:sldId id="2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5B93B3-E623-497A-8F71-1A031EF176B6}" v="8" dt="2025-11-18T16:30:21.949"/>
  </p1510:revLst>
</p1510:revInfo>
</file>

<file path=ppt/tableStyles.xml><?xml version="1.0" encoding="utf-8"?>
<a:tblStyleLst xmlns:a="http://schemas.openxmlformats.org/drawingml/2006/main" def="{B45C9562-1D88-4959-98E0-DF01EE10AB55}">
  <a:tblStyle styleId="{B45C9562-1D88-4959-98E0-DF01EE10AB55}" styleName="adesso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mpd="sng">
              <a:solidFill>
                <a:schemeClr val="dk1"/>
              </a:solidFill>
            </a:ln>
          </a:bottom>
          <a:insideH>
            <a:ln w="635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accent3"/>
              </a:solidFill>
            </a:ln>
          </a:top>
          <a:bottom>
            <a:ln w="6350" cmpd="sng">
              <a:solidFill>
                <a:schemeClr val="dk1"/>
              </a:solidFill>
            </a:ln>
          </a:bottom>
        </a:tcBdr>
      </a:tcStyle>
    </a:lastRow>
    <a:firstRow>
      <a:tcTxStyle b="on">
        <a:fontRef idx="minor">
          <a:prstClr val="black"/>
        </a:fontRef>
        <a:schemeClr val="dk2"/>
      </a:tcTxStyle>
      <a:tcStyle>
        <a:tcBdr>
          <a:bottom>
            <a:ln w="6350" cmpd="sng">
              <a:solidFill>
                <a:schemeClr val="dk1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1059" y="27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5.fntdata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hab, Jessica" userId="814d5d37-6505-4a18-837c-bc30759f5cc9" providerId="ADAL" clId="{0B9911F3-A799-4055-8768-8721361F69EA}"/>
    <pc:docChg chg="delSld modSld sldOrd addSection delSection modSection">
      <pc:chgData name="Ramhab, Jessica" userId="814d5d37-6505-4a18-837c-bc30759f5cc9" providerId="ADAL" clId="{0B9911F3-A799-4055-8768-8721361F69EA}" dt="2025-11-18T16:57:01.035" v="28" actId="17851"/>
      <pc:docMkLst>
        <pc:docMk/>
      </pc:docMkLst>
      <pc:sldChg chg="del">
        <pc:chgData name="Ramhab, Jessica" userId="814d5d37-6505-4a18-837c-bc30759f5cc9" providerId="ADAL" clId="{0B9911F3-A799-4055-8768-8721361F69EA}" dt="2025-11-18T16:52:32.538" v="13" actId="47"/>
        <pc:sldMkLst>
          <pc:docMk/>
          <pc:sldMk cId="2361378580" sldId="270"/>
        </pc:sldMkLst>
      </pc:sldChg>
      <pc:sldChg chg="del">
        <pc:chgData name="Ramhab, Jessica" userId="814d5d37-6505-4a18-837c-bc30759f5cc9" providerId="ADAL" clId="{0B9911F3-A799-4055-8768-8721361F69EA}" dt="2025-11-18T16:52:32.538" v="13" actId="47"/>
        <pc:sldMkLst>
          <pc:docMk/>
          <pc:sldMk cId="1406851202" sldId="271"/>
        </pc:sldMkLst>
      </pc:sldChg>
      <pc:sldChg chg="del">
        <pc:chgData name="Ramhab, Jessica" userId="814d5d37-6505-4a18-837c-bc30759f5cc9" providerId="ADAL" clId="{0B9911F3-A799-4055-8768-8721361F69EA}" dt="2025-11-18T16:52:32.538" v="13" actId="47"/>
        <pc:sldMkLst>
          <pc:docMk/>
          <pc:sldMk cId="3989870664" sldId="272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328374889" sldId="273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2450656619" sldId="274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1576984944" sldId="276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3041469245" sldId="278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2040389793" sldId="279"/>
        </pc:sldMkLst>
      </pc:sldChg>
      <pc:sldChg chg="ord">
        <pc:chgData name="Ramhab, Jessica" userId="814d5d37-6505-4a18-837c-bc30759f5cc9" providerId="ADAL" clId="{0B9911F3-A799-4055-8768-8721361F69EA}" dt="2025-11-18T16:54:38.959" v="26"/>
        <pc:sldMkLst>
          <pc:docMk/>
          <pc:sldMk cId="1966707304" sldId="280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3554793788" sldId="281"/>
        </pc:sldMkLst>
      </pc:sldChg>
      <pc:sldChg chg="modSp mod">
        <pc:chgData name="Ramhab, Jessica" userId="814d5d37-6505-4a18-837c-bc30759f5cc9" providerId="ADAL" clId="{0B9911F3-A799-4055-8768-8721361F69EA}" dt="2025-11-18T16:26:22.105" v="1" actId="20577"/>
        <pc:sldMkLst>
          <pc:docMk/>
          <pc:sldMk cId="2121134427" sldId="282"/>
        </pc:sldMkLst>
        <pc:spChg chg="mod">
          <ac:chgData name="Ramhab, Jessica" userId="814d5d37-6505-4a18-837c-bc30759f5cc9" providerId="ADAL" clId="{0B9911F3-A799-4055-8768-8721361F69EA}" dt="2025-11-18T16:26:22.105" v="1" actId="20577"/>
          <ac:spMkLst>
            <pc:docMk/>
            <pc:sldMk cId="2121134427" sldId="282"/>
            <ac:spMk id="4" creationId="{DC061018-A3AD-2436-556C-4E28D7E21330}"/>
          </ac:spMkLst>
        </pc:spChg>
      </pc:sldChg>
      <pc:sldChg chg="del">
        <pc:chgData name="Ramhab, Jessica" userId="814d5d37-6505-4a18-837c-bc30759f5cc9" providerId="ADAL" clId="{0B9911F3-A799-4055-8768-8721361F69EA}" dt="2025-11-18T16:52:15.289" v="12" actId="47"/>
        <pc:sldMkLst>
          <pc:docMk/>
          <pc:sldMk cId="2353197396" sldId="283"/>
        </pc:sldMkLst>
      </pc:sldChg>
      <pc:sldChg chg="del">
        <pc:chgData name="Ramhab, Jessica" userId="814d5d37-6505-4a18-837c-bc30759f5cc9" providerId="ADAL" clId="{0B9911F3-A799-4055-8768-8721361F69EA}" dt="2025-11-18T16:52:15.289" v="12" actId="47"/>
        <pc:sldMkLst>
          <pc:docMk/>
          <pc:sldMk cId="1578878897" sldId="284"/>
        </pc:sldMkLst>
      </pc:sldChg>
      <pc:sldChg chg="del">
        <pc:chgData name="Ramhab, Jessica" userId="814d5d37-6505-4a18-837c-bc30759f5cc9" providerId="ADAL" clId="{0B9911F3-A799-4055-8768-8721361F69EA}" dt="2025-11-18T16:52:15.289" v="12" actId="47"/>
        <pc:sldMkLst>
          <pc:docMk/>
          <pc:sldMk cId="1267801230" sldId="286"/>
        </pc:sldMkLst>
      </pc:sldChg>
      <pc:sldChg chg="addSp modSp mod modAnim">
        <pc:chgData name="Ramhab, Jessica" userId="814d5d37-6505-4a18-837c-bc30759f5cc9" providerId="ADAL" clId="{0B9911F3-A799-4055-8768-8721361F69EA}" dt="2025-11-18T16:30:21.949" v="9"/>
        <pc:sldMkLst>
          <pc:docMk/>
          <pc:sldMk cId="3027194576" sldId="287"/>
        </pc:sldMkLst>
        <pc:spChg chg="add mod">
          <ac:chgData name="Ramhab, Jessica" userId="814d5d37-6505-4a18-837c-bc30759f5cc9" providerId="ADAL" clId="{0B9911F3-A799-4055-8768-8721361F69EA}" dt="2025-11-18T16:27:26.445" v="4" actId="1076"/>
          <ac:spMkLst>
            <pc:docMk/>
            <pc:sldMk cId="3027194576" sldId="287"/>
            <ac:spMk id="8" creationId="{00DEF4BC-1D25-A5B5-0916-A0387B455264}"/>
          </ac:spMkLst>
        </pc:spChg>
      </pc:sldChg>
      <pc:sldChg chg="modSp mod">
        <pc:chgData name="Ramhab, Jessica" userId="814d5d37-6505-4a18-837c-bc30759f5cc9" providerId="ADAL" clId="{0B9911F3-A799-4055-8768-8721361F69EA}" dt="2025-11-18T16:31:19.280" v="11" actId="1076"/>
        <pc:sldMkLst>
          <pc:docMk/>
          <pc:sldMk cId="96510777" sldId="291"/>
        </pc:sldMkLst>
        <pc:picChg chg="mod">
          <ac:chgData name="Ramhab, Jessica" userId="814d5d37-6505-4a18-837c-bc30759f5cc9" providerId="ADAL" clId="{0B9911F3-A799-4055-8768-8721361F69EA}" dt="2025-11-18T16:31:15.030" v="10" actId="1076"/>
          <ac:picMkLst>
            <pc:docMk/>
            <pc:sldMk cId="96510777" sldId="291"/>
            <ac:picMk id="27" creationId="{879D2386-F606-40AB-5155-7D4DF0B33BB8}"/>
          </ac:picMkLst>
        </pc:picChg>
        <pc:picChg chg="mod">
          <ac:chgData name="Ramhab, Jessica" userId="814d5d37-6505-4a18-837c-bc30759f5cc9" providerId="ADAL" clId="{0B9911F3-A799-4055-8768-8721361F69EA}" dt="2025-11-18T16:31:19.280" v="11" actId="1076"/>
          <ac:picMkLst>
            <pc:docMk/>
            <pc:sldMk cId="96510777" sldId="291"/>
            <ac:picMk id="28" creationId="{407F3EF2-69B3-A1C6-E26D-5B4012638DBA}"/>
          </ac:picMkLst>
        </pc:picChg>
        <pc:cxnChg chg="mod">
          <ac:chgData name="Ramhab, Jessica" userId="814d5d37-6505-4a18-837c-bc30759f5cc9" providerId="ADAL" clId="{0B9911F3-A799-4055-8768-8721361F69EA}" dt="2025-11-18T16:31:19.280" v="11" actId="1076"/>
          <ac:cxnSpMkLst>
            <pc:docMk/>
            <pc:sldMk cId="96510777" sldId="291"/>
            <ac:cxnSpMk id="40" creationId="{815E9F6F-1E61-7B62-5CE3-91C3DCDDD857}"/>
          </ac:cxnSpMkLst>
        </pc:cxnChg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1179599230" sldId="298"/>
        </pc:sldMkLst>
      </pc:sldChg>
      <pc:sldChg chg="del ord">
        <pc:chgData name="Ramhab, Jessica" userId="814d5d37-6505-4a18-837c-bc30759f5cc9" providerId="ADAL" clId="{0B9911F3-A799-4055-8768-8721361F69EA}" dt="2025-11-18T16:56:56.077" v="27" actId="47"/>
        <pc:sldMkLst>
          <pc:docMk/>
          <pc:sldMk cId="1118709923" sldId="2598"/>
        </pc:sldMkLst>
      </pc:sldChg>
      <pc:sldChg chg="modAnim">
        <pc:chgData name="Ramhab, Jessica" userId="814d5d37-6505-4a18-837c-bc30759f5cc9" providerId="ADAL" clId="{0B9911F3-A799-4055-8768-8721361F69EA}" dt="2025-11-18T16:27:04.414" v="2"/>
        <pc:sldMkLst>
          <pc:docMk/>
          <pc:sldMk cId="2152589182" sldId="214748363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10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9FFA3F-6127-C7F4-F0A9-80A28FA7F7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750BB-3C39-305E-ED6C-9BE80FF1A2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7192" y="8676456"/>
            <a:ext cx="414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de-DE"/>
              <a:t>Title of the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A5566E-7BC4-87FA-9102-11291179BC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fld id="{E5BBCCF6-F8A8-4C49-BF3D-CA1AA74CA975}" type="slidenum">
              <a:rPr lang="de-DE" sz="1000" smtClean="0"/>
              <a:pPr/>
              <a:t>‹Nr.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611560"/>
            <a:ext cx="5904000" cy="3321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de-DE" sz="1000"/>
          </a:p>
        </p:txBody>
      </p:sp>
      <p:sp>
        <p:nvSpPr>
          <p:cNvPr id="9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477192" y="8676456"/>
            <a:ext cx="414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de-DE"/>
              <a:t>Title of the presentation</a:t>
            </a: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fld id="{E5BBCCF6-F8A8-4C49-BF3D-CA1AA74CA975}" type="slidenum">
              <a:rPr lang="de-DE" sz="1000" smtClean="0"/>
              <a:pPr/>
              <a:t>‹Nr.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lnSpc>
        <a:spcPct val="110000"/>
      </a:lnSpc>
      <a:spcBef>
        <a:spcPts val="1200"/>
      </a:spcBef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lnSpc>
        <a:spcPct val="110000"/>
      </a:lnSpc>
      <a:spcBef>
        <a:spcPts val="400"/>
      </a:spcBef>
      <a:spcAft>
        <a:spcPts val="400"/>
      </a:spcAft>
      <a:buFont typeface="Fira Sans" panose="020B05030500000200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ch gebe keinen Deep-Dive in eine Einzel-Technologie</a:t>
            </a:r>
          </a:p>
          <a:p>
            <a:r>
              <a:rPr lang="de-DE" dirty="0"/>
              <a:t>Ich übernehme die strategische Steuerung von Forschungsprojekten – von der Ideenfindung über </a:t>
            </a:r>
            <a:r>
              <a:rPr lang="de-DE" dirty="0" err="1"/>
              <a:t>Konsortienbildung</a:t>
            </a:r>
            <a:r>
              <a:rPr lang="de-DE" dirty="0"/>
              <a:t> bis zur Verwertung.“ Selber </a:t>
            </a:r>
            <a:r>
              <a:rPr lang="de-DE" dirty="0" err="1"/>
              <a:t>Wirtschaftswiss</a:t>
            </a:r>
            <a:r>
              <a:rPr lang="de-DE" dirty="0"/>
              <a:t> Hintergrund und ausgebildet als Digital Designerin, </a:t>
            </a:r>
            <a:r>
              <a:rPr lang="de-DE" dirty="0" err="1"/>
              <a:t>Requirement</a:t>
            </a:r>
            <a:r>
              <a:rPr lang="de-DE" dirty="0"/>
              <a:t> Engineer und agilen Method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le of the pre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2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34560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tomotive= Innovative Mobilitätslösungen für die Zukunft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le of the pre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789022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18B55-F755-BD4D-D9B8-A1E82229D8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9746F1-31DC-4477-C361-7256B870D7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ABFA24B-02DE-EFFC-944E-F507301B9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200" baseline="0" dirty="0">
                <a:latin typeface="Fira Sans" panose="020B0503050000020004" pitchFamily="34" charset="0"/>
                <a:ea typeface="Calibri" panose="020F0502020204030204" pitchFamily="34" charset="0"/>
                <a:cs typeface="Calibri"/>
              </a:rPr>
              <a:t>Super Technologien, die aber hohe Expertise und nach ihrer Entwicklung schnellen Marktgang und </a:t>
            </a:r>
            <a:r>
              <a:rPr lang="de-DE" sz="1200" baseline="0" dirty="0" err="1">
                <a:latin typeface="Fira Sans" panose="020B0503050000020004" pitchFamily="34" charset="0"/>
                <a:ea typeface="Calibri" panose="020F0502020204030204" pitchFamily="34" charset="0"/>
                <a:cs typeface="Calibri"/>
              </a:rPr>
              <a:t>wirtschaftlichkeit</a:t>
            </a:r>
            <a:r>
              <a:rPr lang="de-DE" sz="1200" baseline="0" dirty="0">
                <a:latin typeface="Fira Sans" panose="020B0503050000020004" pitchFamily="34" charset="0"/>
                <a:ea typeface="Calibri" panose="020F0502020204030204" pitchFamily="34" charset="0"/>
                <a:cs typeface="Calibri"/>
              </a:rPr>
              <a:t> erforder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6C476-03C3-6A26-75E8-7B2E68E283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768BF4-7430-4995-A949-EB4F50B9A8B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5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044E0-FB43-2972-4EF7-FFDCFC040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B13C2F1-6D6D-0C3F-3B28-671C3D52E6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07C2538-0BED-C04C-3EEC-562269B014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200" baseline="0">
              <a:latin typeface="Fira Sans" panose="020B0503050000020004" pitchFamily="34" charset="0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EB61F5-EB83-8988-349C-B928662DA4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768BF4-7430-4995-A949-EB4F50B9A8B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6990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697B6-E8D1-D484-8BC6-BDC09E58A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8BED069-5DD6-0A71-B08D-3FD5A40433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3AA39C9-545E-8DEE-4D8F-99FE1BE2FA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200" baseline="0">
              <a:latin typeface="Fira Sans" panose="020B0503050000020004" pitchFamily="34" charset="0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BB248C-B05E-5A79-1FBF-3043654C41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768BF4-7430-4995-A949-EB4F50B9A8B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326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C632C-840C-179E-204C-416E673AB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4C06D0B-8E1D-FF52-80C3-A31EFA5FE9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6B7784F-E69F-0059-C549-F1C955CD3B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esso unterstützt mit – kostenloser Beratung und OS-Strategie und </a:t>
            </a:r>
            <a:r>
              <a:rPr lang="de-DE" dirty="0" err="1"/>
              <a:t>Bereitstelung</a:t>
            </a:r>
            <a:r>
              <a:rPr lang="de-DE" dirty="0"/>
              <a:t> eigener Entwicklung als O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A32C0B-F837-B4A9-93B3-85C20571A8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FFD78D-9E61-429D-6712-11F584BF48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le of the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50675E-A69A-D2DF-CE29-E40724F1EC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000619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782F4E-DD50-C97C-8881-AAE6BBC0C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7F729A2-9093-29BF-169A-9455C9BDFB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55B5FE5-384D-39CC-3142-359D82B894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ch gebe keinen Deep-Dive in eine Einzel-Technologie</a:t>
            </a:r>
          </a:p>
          <a:p>
            <a:r>
              <a:rPr lang="de-DE" dirty="0"/>
              <a:t>Ich übernehme die strategische Steuerung von Forschungsprojekten – von der Ideenfindung über </a:t>
            </a:r>
            <a:r>
              <a:rPr lang="de-DE" dirty="0" err="1"/>
              <a:t>Konsortienbildung</a:t>
            </a:r>
            <a:r>
              <a:rPr lang="de-DE" dirty="0"/>
              <a:t> bis zur Verwertung.“ Selber </a:t>
            </a:r>
            <a:r>
              <a:rPr lang="de-DE" dirty="0" err="1"/>
              <a:t>Wirtschaftswiss</a:t>
            </a:r>
            <a:r>
              <a:rPr lang="de-DE" dirty="0"/>
              <a:t> Hintergrund und ausgebildet als Digital Designerin, </a:t>
            </a:r>
            <a:r>
              <a:rPr lang="de-DE" dirty="0" err="1"/>
              <a:t>Requirement</a:t>
            </a:r>
            <a:r>
              <a:rPr lang="de-DE" dirty="0"/>
              <a:t> Engineer und agilen Method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FAEEDB-C441-9B81-E84E-97CB6E0D819E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8DEA75F-B5E7-49F3-AF07-708802681350}" type="datetime1">
              <a:rPr lang="de-DE" smtClean="0"/>
              <a:pPr/>
              <a:t>18.11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C31C81-3BE3-5A12-11E0-A7669788430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le of the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AD0DAD-3A62-78A4-C03E-A6C39BB081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030762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11" Type="http://schemas.openxmlformats.org/officeDocument/2006/relationships/image" Target="../media/image13.svg"/><Relationship Id="rId5" Type="http://schemas.openxmlformats.org/officeDocument/2006/relationships/image" Target="../media/image16.png"/><Relationship Id="rId10" Type="http://schemas.openxmlformats.org/officeDocument/2006/relationships/image" Target="../media/image12.png"/><Relationship Id="rId4" Type="http://schemas.openxmlformats.org/officeDocument/2006/relationships/image" Target="../media/image1.emf"/><Relationship Id="rId9" Type="http://schemas.openxmlformats.org/officeDocument/2006/relationships/image" Target="../media/image15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8.svg"/><Relationship Id="rId5" Type="http://schemas.openxmlformats.org/officeDocument/2006/relationships/image" Target="../media/image4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11" Type="http://schemas.openxmlformats.org/officeDocument/2006/relationships/image" Target="../media/image18.svg"/><Relationship Id="rId5" Type="http://schemas.openxmlformats.org/officeDocument/2006/relationships/image" Target="../media/image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11" Type="http://schemas.openxmlformats.org/officeDocument/2006/relationships/image" Target="../media/image11.svg"/><Relationship Id="rId5" Type="http://schemas.openxmlformats.org/officeDocument/2006/relationships/image" Target="../media/image19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15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1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image" Target="../media/image19.png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2.pn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11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13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2.png"/><Relationship Id="rId5" Type="http://schemas.openxmlformats.org/officeDocument/2006/relationships/image" Target="../media/image20.png"/><Relationship Id="rId4" Type="http://schemas.openxmlformats.org/officeDocument/2006/relationships/image" Target="../media/image1.emf"/><Relationship Id="rId9" Type="http://schemas.openxmlformats.org/officeDocument/2006/relationships/image" Target="../media/image11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8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11" Type="http://schemas.openxmlformats.org/officeDocument/2006/relationships/image" Target="../media/image15.svg"/><Relationship Id="rId5" Type="http://schemas.openxmlformats.org/officeDocument/2006/relationships/image" Target="../media/image16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5.sv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1.sv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7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/Outr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1489F20B-BBCD-A3A7-10D0-F905F49F3D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4497820" y="2637000"/>
            <a:ext cx="3196360" cy="1206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26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05D2FC8-3E8B-9EBE-7745-7873E532D1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67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5D2FC8-3E8B-9EBE-7745-7873E532D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dient">
            <a:extLst>
              <a:ext uri="{FF2B5EF4-FFF2-40B4-BE49-F238E27FC236}">
                <a16:creationId xmlns:a16="http://schemas.microsoft.com/office/drawing/2014/main" id="{B723CF16-9659-CD27-BFD2-E5AD0C84A2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B2167822-301A-923D-3BF1-98C43E5DDF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5688" y="1268900"/>
            <a:ext cx="8856662" cy="2088100"/>
          </a:xfrm>
        </p:spPr>
        <p:txBody>
          <a:bodyPr vert="horz" anchor="b"/>
          <a:lstStyle>
            <a:lvl1pPr>
              <a:lnSpc>
                <a:spcPct val="8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EAC21517-510A-2A39-F899-3441461F4C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055688" y="3429000"/>
            <a:ext cx="8856662" cy="144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9pPr>
          </a:lstStyle>
          <a:p>
            <a:r>
              <a:rPr lang="en-GB"/>
              <a:t>Optional short description of </a:t>
            </a:r>
            <a:br>
              <a:rPr lang="en-GB"/>
            </a:br>
            <a:r>
              <a:rPr lang="en-GB"/>
              <a:t>the current section</a:t>
            </a:r>
          </a:p>
          <a:p>
            <a:pPr lvl="1"/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D21F9-CAF8-41EB-9D22-EEDEA5B83D6E}" type="datetime1">
              <a:rPr lang="en-GB" smtClean="0"/>
              <a:t>18/11/2025</a:t>
            </a:fld>
            <a:endParaRPr lang="en-GB"/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2E4ABAEA-6371-074E-FCF3-57D9898D44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Arrow">
            <a:extLst>
              <a:ext uri="{FF2B5EF4-FFF2-40B4-BE49-F238E27FC236}">
                <a16:creationId xmlns:a16="http://schemas.microsoft.com/office/drawing/2014/main" id="{EDBBED1B-023A-FACB-C4ED-EE7525F3F1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0632000" y="4761000"/>
            <a:ext cx="756000" cy="7560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9E9F17F7-0B89-0E0F-48B9-E46CCAFBF1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436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F45E01D-B563-537E-CFD1-CD6B55CE0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31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45E01D-B563-537E-CFD1-CD6B55CE0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3">
            <a:extLst>
              <a:ext uri="{FF2B5EF4-FFF2-40B4-BE49-F238E27FC236}">
                <a16:creationId xmlns:a16="http://schemas.microsoft.com/office/drawing/2014/main" id="{39CCA402-DED7-2BB4-D820-6AF1A1083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  Picture</a:t>
            </a:r>
          </a:p>
        </p:txBody>
      </p:sp>
      <p:sp>
        <p:nvSpPr>
          <p:cNvPr id="7" name="Bildkontrast">
            <a:extLst>
              <a:ext uri="{FF2B5EF4-FFF2-40B4-BE49-F238E27FC236}">
                <a16:creationId xmlns:a16="http://schemas.microsoft.com/office/drawing/2014/main" id="{90BF5578-7158-742D-B8B8-D8C5F96FEB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B9FB43F-5E8A-B6C3-EAA8-EA022913F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5688" y="1268900"/>
            <a:ext cx="8856662" cy="2088100"/>
          </a:xfrm>
        </p:spPr>
        <p:txBody>
          <a:bodyPr vert="horz" anchor="b"/>
          <a:lstStyle>
            <a:lvl1pPr>
              <a:lnSpc>
                <a:spcPct val="85000"/>
              </a:lnSpc>
              <a:defRPr sz="5200">
                <a:solidFill>
                  <a:schemeClr val="tx2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810752F5-186C-03FB-BB64-C5F1D9D9BC3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055688" y="3428912"/>
            <a:ext cx="8856662" cy="144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9pPr>
          </a:lstStyle>
          <a:p>
            <a:r>
              <a:rPr lang="en-GB"/>
              <a:t>Optional short description of </a:t>
            </a:r>
            <a:br>
              <a:rPr lang="en-GB"/>
            </a:br>
            <a:r>
              <a:rPr lang="en-GB"/>
              <a:t>the current sec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909C308-3AEC-4093-92CB-58430B5BD35B}" type="datetime1">
              <a:rPr lang="en-GB" smtClean="0"/>
              <a:t>18/11/2025</a:t>
            </a:fld>
            <a:endParaRPr lang="en-GB"/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8DB6C231-C5BB-9B40-0F2A-1BA2BA977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Arrow">
            <a:extLst>
              <a:ext uri="{FF2B5EF4-FFF2-40B4-BE49-F238E27FC236}">
                <a16:creationId xmlns:a16="http://schemas.microsoft.com/office/drawing/2014/main" id="{0BE17F32-D6B0-F910-E9F6-968829D7A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10632000" y="4761000"/>
            <a:ext cx="756000" cy="7560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9761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44">
          <p15:clr>
            <a:srgbClr val="F26B43"/>
          </p15:clr>
        </p15:guide>
        <p15:guide id="2" orient="horz" pos="2115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718A833-D790-25B6-3705-635EEE5F5A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0556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18A833-D790-25B6-3705-635EEE5F5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9">
            <a:extLst>
              <a:ext uri="{FF2B5EF4-FFF2-40B4-BE49-F238E27FC236}">
                <a16:creationId xmlns:a16="http://schemas.microsoft.com/office/drawing/2014/main" id="{27A5E866-5D91-E545-59A4-766B60DC3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r>
              <a:rPr lang="en-GB"/>
              <a:t>Add  Picture</a:t>
            </a:r>
          </a:p>
          <a:p>
            <a:pPr lvl="8"/>
            <a:endParaRPr lang="en-GB"/>
          </a:p>
        </p:txBody>
      </p:sp>
      <p:sp>
        <p:nvSpPr>
          <p:cNvPr id="7" name="Bildkontrast">
            <a:extLst>
              <a:ext uri="{FF2B5EF4-FFF2-40B4-BE49-F238E27FC236}">
                <a16:creationId xmlns:a16="http://schemas.microsoft.com/office/drawing/2014/main" id="{C4753983-0865-0D4C-9133-0A99B811D17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685288D-DB07-51CF-3109-4D7FFCFE5B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5688" y="1268900"/>
            <a:ext cx="8856662" cy="2088100"/>
          </a:xfrm>
        </p:spPr>
        <p:txBody>
          <a:bodyPr vert="horz" anchor="b"/>
          <a:lstStyle>
            <a:lvl1pPr>
              <a:lnSpc>
                <a:spcPct val="8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1A90195-8AAA-0454-4861-29ED43B27E2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055688" y="3429000"/>
            <a:ext cx="8856662" cy="144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bg1"/>
                </a:solidFill>
              </a:defRPr>
            </a:lvl9pPr>
          </a:lstStyle>
          <a:p>
            <a:r>
              <a:rPr lang="en-GB"/>
              <a:t>Optional short description of </a:t>
            </a:r>
            <a:br>
              <a:rPr lang="en-GB"/>
            </a:br>
            <a:r>
              <a:rPr lang="en-GB"/>
              <a:t>the current sec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CE3138-F6C1-4B1F-A0E0-3407E64404C7}" type="datetime1">
              <a:rPr lang="en-GB" smtClean="0"/>
              <a:t>18/11/2025</a:t>
            </a:fld>
            <a:endParaRPr lang="en-GB"/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C72E5158-DD49-5499-FBFE-A16D57566C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Arrow">
            <a:extLst>
              <a:ext uri="{FF2B5EF4-FFF2-40B4-BE49-F238E27FC236}">
                <a16:creationId xmlns:a16="http://schemas.microsoft.com/office/drawing/2014/main" id="{0BE17F32-D6B0-F910-E9F6-968829D7A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10632000" y="4761000"/>
            <a:ext cx="756000" cy="7560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748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half Picture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AB0DA3CE-1438-CC6E-92E0-BAC3299E7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17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DA3CE-1438-CC6E-92E0-BAC3299E7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01841501-C7BA-52D7-E102-657F230BB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736000" y="6309000"/>
            <a:ext cx="1080000" cy="549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algn="l">
              <a:buClr>
                <a:schemeClr val="tx2"/>
              </a:buClr>
              <a:buFont typeface="Fira Sans" panose="020B0503050000020004" pitchFamily="34" charset="0"/>
              <a:buChar char="&gt;"/>
            </a:pPr>
            <a:endParaRPr lang="de-DE" sz="1600">
              <a:solidFill>
                <a:schemeClr val="tx2"/>
              </a:solidFill>
            </a:endParaRP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5CC9311B-B6CB-FE0C-EC7B-B293F448B3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4" name="Bildkontrast">
            <a:extLst>
              <a:ext uri="{FF2B5EF4-FFF2-40B4-BE49-F238E27FC236}">
                <a16:creationId xmlns:a16="http://schemas.microsoft.com/office/drawing/2014/main" id="{85E3E958-EF24-1192-DF23-C5B3CBB044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07988" y="693000"/>
            <a:ext cx="5759450" cy="1872000"/>
          </a:xfrm>
        </p:spPr>
        <p:txBody>
          <a:bodyPr vert="horz" anchor="b"/>
          <a:lstStyle>
            <a:lvl1pPr>
              <a:lnSpc>
                <a:spcPct val="85000"/>
              </a:lnSpc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07988" y="2564912"/>
            <a:ext cx="5759450" cy="1944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tx2"/>
                </a:solidFill>
              </a:defRPr>
            </a:lvl9pPr>
          </a:lstStyle>
          <a:p>
            <a:r>
              <a:rPr lang="en-GB"/>
              <a:t>Optional short description of the current sec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55687" y="6453000"/>
            <a:ext cx="4680000" cy="14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20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67EB597F-EBBA-05B9-AE59-487919E8D91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888000" y="6453000"/>
            <a:ext cx="720000" cy="14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FD9F9CA-D7C5-4D75-A473-538937D04093}" type="datetime1">
              <a:rPr lang="en-GB" smtClean="0"/>
              <a:t>18/11/2025</a:t>
            </a:fld>
            <a:endParaRPr lang="en-GB"/>
          </a:p>
        </p:txBody>
      </p:sp>
      <p:pic>
        <p:nvPicPr>
          <p:cNvPr id="13" name="Pill_small">
            <a:extLst>
              <a:ext uri="{FF2B5EF4-FFF2-40B4-BE49-F238E27FC236}">
                <a16:creationId xmlns:a16="http://schemas.microsoft.com/office/drawing/2014/main" id="{3CCED57A-1EA4-B4F0-C567-5A3A8AFE5F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6154406" y="6475629"/>
            <a:ext cx="216000" cy="98743"/>
          </a:xfrm>
          <a:prstGeom prst="rect">
            <a:avLst/>
          </a:prstGeom>
        </p:spPr>
      </p:pic>
      <p:sp>
        <p:nvSpPr>
          <p:cNvPr id="14" name="Arrow">
            <a:extLst>
              <a:ext uri="{FF2B5EF4-FFF2-40B4-BE49-F238E27FC236}">
                <a16:creationId xmlns:a16="http://schemas.microsoft.com/office/drawing/2014/main" id="{648F5294-342F-CA40-080A-A8D3B1372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 bwMode="gray">
          <a:xfrm>
            <a:off x="4944000" y="4869000"/>
            <a:ext cx="1224000" cy="12240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Pill_small_TextPH">
            <a:extLst>
              <a:ext uri="{FF2B5EF4-FFF2-40B4-BE49-F238E27FC236}">
                <a16:creationId xmlns:a16="http://schemas.microsoft.com/office/drawing/2014/main" id="{9DA40878-F5FF-B719-9BF7-C451E55AB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6101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616">
          <p15:clr>
            <a:srgbClr val="F26B43"/>
          </p15:clr>
        </p15:guide>
        <p15:guide id="6" pos="3885">
          <p15:clr>
            <a:srgbClr val="F26B43"/>
          </p15:clr>
        </p15:guide>
        <p15:guide id="8" pos="4203">
          <p15:clr>
            <a:srgbClr val="F26B43"/>
          </p15:clr>
        </p15:guide>
        <p15:guide id="9" pos="257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half Pictur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280B20-CA0F-5C3C-4EAB-EB7D755B9F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985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280B20-CA0F-5C3C-4EAB-EB7D755B9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Verlauf">
            <a:extLst>
              <a:ext uri="{FF2B5EF4-FFF2-40B4-BE49-F238E27FC236}">
                <a16:creationId xmlns:a16="http://schemas.microsoft.com/office/drawing/2014/main" id="{3300AACF-0D35-1B88-AC4F-A1B0BB8FA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16998EF-CD2E-E8D7-4A07-69B504815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72263" y="0"/>
            <a:ext cx="5519737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4" name="Bildkontrast">
            <a:extLst>
              <a:ext uri="{FF2B5EF4-FFF2-40B4-BE49-F238E27FC236}">
                <a16:creationId xmlns:a16="http://schemas.microsoft.com/office/drawing/2014/main" id="{A9041A99-01BE-D2BD-943C-8D4A7ED862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3428761-EC80-70E2-D1D7-90ECA56DCC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693000"/>
            <a:ext cx="5759450" cy="1872000"/>
          </a:xfrm>
        </p:spPr>
        <p:txBody>
          <a:bodyPr vert="horz" anchor="b"/>
          <a:lstStyle>
            <a:lvl1pPr>
              <a:lnSpc>
                <a:spcPct val="8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83129EB0-3C89-AD69-6E13-431184196F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07988" y="2564912"/>
            <a:ext cx="5760751" cy="1944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200" b="0">
                <a:solidFill>
                  <a:schemeClr val="bg1"/>
                </a:solidFill>
              </a:defRPr>
            </a:lvl9pPr>
          </a:lstStyle>
          <a:p>
            <a:r>
              <a:rPr lang="en-GB"/>
              <a:t>Optional short description of the current sec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55687" y="6453000"/>
            <a:ext cx="468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2000" y="6414338"/>
            <a:ext cx="532800" cy="208800"/>
          </a:xfrm>
          <a:prstGeom prst="rect">
            <a:avLst/>
          </a:pr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Arrow">
            <a:extLst>
              <a:ext uri="{FF2B5EF4-FFF2-40B4-BE49-F238E27FC236}">
                <a16:creationId xmlns:a16="http://schemas.microsoft.com/office/drawing/2014/main" id="{7A197F93-C74A-7E15-7A87-A3BF743DD5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 bwMode="gray">
          <a:xfrm>
            <a:off x="4944000" y="4869000"/>
            <a:ext cx="1224000" cy="12240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4BAFBB94-A8F3-114E-22EA-CF0F512A23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888000" y="6453000"/>
            <a:ext cx="720000" cy="14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4AE5A4-A278-4BB3-8BFF-48B71267E52A}" type="datetime1">
              <a:rPr lang="en-GB" smtClean="0"/>
              <a:t>18/11/2025</a:t>
            </a:fld>
            <a:endParaRPr lang="en-GB"/>
          </a:p>
        </p:txBody>
      </p:sp>
      <p:sp>
        <p:nvSpPr>
          <p:cNvPr id="15" name="Pill_small_TextPH">
            <a:extLst>
              <a:ext uri="{FF2B5EF4-FFF2-40B4-BE49-F238E27FC236}">
                <a16:creationId xmlns:a16="http://schemas.microsoft.com/office/drawing/2014/main" id="{DA30F08B-093E-B39F-4AA8-B9A2F8A51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781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616">
          <p15:clr>
            <a:srgbClr val="F26B43"/>
          </p15:clr>
        </p15:guide>
        <p15:guide id="6" pos="3885">
          <p15:clr>
            <a:srgbClr val="F26B43"/>
          </p15:clr>
        </p15:guide>
        <p15:guide id="8" pos="4203">
          <p15:clr>
            <a:srgbClr val="F26B43"/>
          </p15:clr>
        </p15:guide>
        <p15:guide id="9" pos="257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>
            <a:extLst>
              <a:ext uri="{FF2B5EF4-FFF2-40B4-BE49-F238E27FC236}">
                <a16:creationId xmlns:a16="http://schemas.microsoft.com/office/drawing/2014/main" id="{08730F2D-3D5A-B4FB-D0CB-CF57880E3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186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think-cell data - do not delete">
                        <a:extLst>
                          <a:ext uri="{FF2B5EF4-FFF2-40B4-BE49-F238E27FC236}">
                            <a16:creationId xmlns:a16="http://schemas.microsoft.com/office/drawing/2014/main" id="{08730F2D-3D5A-B4FB-D0CB-CF57880E3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20130F-1555-7891-3505-25DECEC0A55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B4AD4E-68CE-D4C7-ED38-CC183EBA28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4C3B36C-6022-7BD7-0AC1-FFEA36DFD5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73D0B3-0E64-FB65-99E1-555E9CC07F7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DC8993-8D2E-4DE0-9E9C-34605DBD02AA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1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>
            <a:extLst>
              <a:ext uri="{FF2B5EF4-FFF2-40B4-BE49-F238E27FC236}">
                <a16:creationId xmlns:a16="http://schemas.microsoft.com/office/drawing/2014/main" id="{230C2AFB-781E-6B4E-F903-63933EF57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186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>
                        <a:extLst>
                          <a:ext uri="{FF2B5EF4-FFF2-40B4-BE49-F238E27FC236}">
                            <a16:creationId xmlns:a16="http://schemas.microsoft.com/office/drawing/2014/main" id="{230C2AFB-781E-6B4E-F903-63933EF57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Verlauf">
            <a:extLst>
              <a:ext uri="{FF2B5EF4-FFF2-40B4-BE49-F238E27FC236}">
                <a16:creationId xmlns:a16="http://schemas.microsoft.com/office/drawing/2014/main" id="{D20B09AF-858C-FD21-E0D5-D75B184C7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E8186563-CFF5-9702-C257-BCE214C064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0" name="Pill">
            <a:extLst>
              <a:ext uri="{FF2B5EF4-FFF2-40B4-BE49-F238E27FC236}">
                <a16:creationId xmlns:a16="http://schemas.microsoft.com/office/drawing/2014/main" id="{58FE6AE3-A96D-3981-CE6F-E7CE0A93C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9F1461C9-A40F-F091-2E1B-93C5C9A2E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0" y="1772388"/>
            <a:ext cx="10728000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873045-E84B-42E6-97B8-868466B07CCD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97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 userDrawn="1">
          <p15:clr>
            <a:srgbClr val="FBAE40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>
            <a:extLst>
              <a:ext uri="{FF2B5EF4-FFF2-40B4-BE49-F238E27FC236}">
                <a16:creationId xmlns:a16="http://schemas.microsoft.com/office/drawing/2014/main" id="{E3202E16-9881-E6EE-C500-8C6F4F653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73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>
                        <a:extLst>
                          <a:ext uri="{FF2B5EF4-FFF2-40B4-BE49-F238E27FC236}">
                            <a16:creationId xmlns:a16="http://schemas.microsoft.com/office/drawing/2014/main" id="{E3202E16-9881-E6EE-C500-8C6F4F653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0" y="1772388"/>
            <a:ext cx="511200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9B7C474F-72E1-4ADA-9EA2-1BEC30461D7E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671537" y="1772388"/>
            <a:ext cx="511200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180AB0-1B04-4CCC-82A9-8796D4991E51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972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pos="257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erlauf">
            <a:extLst>
              <a:ext uri="{FF2B5EF4-FFF2-40B4-BE49-F238E27FC236}">
                <a16:creationId xmlns:a16="http://schemas.microsoft.com/office/drawing/2014/main" id="{D20B09AF-858C-FD21-E0D5-D75B184C7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ll">
            <a:extLst>
              <a:ext uri="{FF2B5EF4-FFF2-40B4-BE49-F238E27FC236}">
                <a16:creationId xmlns:a16="http://schemas.microsoft.com/office/drawing/2014/main" id="{A9D7CC25-D12B-1CC8-92EB-4C9762F1C0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1" name="Pill">
            <a:extLst>
              <a:ext uri="{FF2B5EF4-FFF2-40B4-BE49-F238E27FC236}">
                <a16:creationId xmlns:a16="http://schemas.microsoft.com/office/drawing/2014/main" id="{077CF138-59BF-F35A-28FA-6953C53923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9F1461C9-A40F-F091-2E1B-93C5C9A2E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FCC616E-855D-C4EB-CB12-950FCFD0E3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477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CC616E-855D-C4EB-CB12-950FCFD0E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0" y="1772388"/>
            <a:ext cx="5112000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E6830A5-B551-48BC-B98B-DC1C79583F2B}" type="datetime1">
              <a:rPr lang="en-GB" smtClean="0"/>
              <a:t>18/11/2025</a:t>
            </a:fld>
            <a:endParaRPr lang="en-GB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2AFEC74-2BAE-AF08-AED5-8B96C5623CB0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672632" y="1772692"/>
            <a:ext cx="5112000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3778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6" orient="horz" pos="323" userDrawn="1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883">
          <p15:clr>
            <a:srgbClr val="F26B43"/>
          </p15:clr>
        </p15:guide>
        <p15:guide id="9" pos="257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CC32B6E-900C-F093-4CA6-EE27471B60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00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C32B6E-900C-F093-4CA6-EE27471B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0" y="1772388"/>
            <a:ext cx="324000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9B7C474F-72E1-4ADA-9EA2-1BEC30461D7E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4800000" y="1772388"/>
            <a:ext cx="324000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6281752-5285-F8BF-B903-5D95BADAE05D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8543875" y="1772388"/>
            <a:ext cx="324000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E29D70-4111-4CD2-A907-00B25AFFDEA5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94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65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257">
          <p15:clr>
            <a:srgbClr val="A4A3A4"/>
          </p15:clr>
        </p15:guide>
        <p15:guide id="6" pos="742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23" userDrawn="1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pos="270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B5D5D99-F1C8-BFD2-6A39-BBC22026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64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5D5D99-F1C8-BFD2-6A39-BBC22026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5DA1B8D-3DCE-A530-1FEC-2E35C88D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1" y="1269000"/>
            <a:ext cx="8280750" cy="1800000"/>
          </a:xfrm>
        </p:spPr>
        <p:txBody>
          <a:bodyPr vert="horz" anchor="b" anchorCtr="0"/>
          <a:lstStyle>
            <a:lvl1pPr>
              <a:lnSpc>
                <a:spcPct val="85000"/>
              </a:lnSpc>
              <a:defRPr sz="5200"/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1" y="3213000"/>
            <a:ext cx="8280749" cy="187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65A73C-A722-36D8-2989-21881458F7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8349" y="6381100"/>
            <a:ext cx="8280401" cy="2160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Place | Dat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9480952-B8AA-375F-48D8-8A4929F55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945900" y="366900"/>
            <a:ext cx="1980000" cy="781224"/>
          </a:xfrm>
          <a:prstGeom prst="rect">
            <a:avLst/>
          </a:prstGeom>
        </p:spPr>
      </p:pic>
      <p:pic>
        <p:nvPicPr>
          <p:cNvPr id="5" name="Pill_small">
            <a:extLst>
              <a:ext uri="{FF2B5EF4-FFF2-40B4-BE49-F238E27FC236}">
                <a16:creationId xmlns:a16="http://schemas.microsoft.com/office/drawing/2014/main" id="{AF33988A-A889-CE3D-1F77-FE4B05D01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408000" y="6481979"/>
            <a:ext cx="216000" cy="98743"/>
          </a:xfrm>
          <a:prstGeom prst="rect">
            <a:avLst/>
          </a:prstGeom>
        </p:spPr>
      </p:pic>
      <p:sp>
        <p:nvSpPr>
          <p:cNvPr id="2" name="Arrow">
            <a:extLst>
              <a:ext uri="{FF2B5EF4-FFF2-40B4-BE49-F238E27FC236}">
                <a16:creationId xmlns:a16="http://schemas.microsoft.com/office/drawing/2014/main" id="{E6FD122C-0A1E-1C04-2CAD-B7A816385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0920000" y="5445000"/>
            <a:ext cx="720000" cy="7200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3366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>
            <a:extLst>
              <a:ext uri="{FF2B5EF4-FFF2-40B4-BE49-F238E27FC236}">
                <a16:creationId xmlns:a16="http://schemas.microsoft.com/office/drawing/2014/main" id="{07EB9DCC-A87F-E5F8-747D-4B3518DB8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56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>
                        <a:extLst>
                          <a:ext uri="{FF2B5EF4-FFF2-40B4-BE49-F238E27FC236}">
                            <a16:creationId xmlns:a16="http://schemas.microsoft.com/office/drawing/2014/main" id="{07EB9DCC-A87F-E5F8-747D-4B3518DB8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Verlauf">
            <a:extLst>
              <a:ext uri="{FF2B5EF4-FFF2-40B4-BE49-F238E27FC236}">
                <a16:creationId xmlns:a16="http://schemas.microsoft.com/office/drawing/2014/main" id="{D20B09AF-858C-FD21-E0D5-D75B184C7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9F1461C9-A40F-F091-2E1B-93C5C9A2E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pic>
        <p:nvPicPr>
          <p:cNvPr id="15" name="Pill">
            <a:extLst>
              <a:ext uri="{FF2B5EF4-FFF2-40B4-BE49-F238E27FC236}">
                <a16:creationId xmlns:a16="http://schemas.microsoft.com/office/drawing/2014/main" id="{81E7D753-B737-CA3A-83FF-BCF0157C4E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16F3E94A-CFFE-84E0-3DAF-050B8F4F3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BF9348A-53B2-55D9-D553-B1D771B3D73E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056025" y="1772816"/>
            <a:ext cx="3239775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55D3322A-38DF-0D56-6F80-66D59465B7D1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9856" y="1772816"/>
            <a:ext cx="3239775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B33224D-BFA5-7684-C3BF-A422E774B238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544272" y="1772388"/>
            <a:ext cx="3239775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D919E8-02AC-4908-89DD-112D4D548AFC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686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6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7423">
          <p15:clr>
            <a:srgbClr val="F26B43"/>
          </p15:clr>
        </p15:guide>
        <p15:guide id="6" pos="665">
          <p15:clr>
            <a:srgbClr val="F26B43"/>
          </p15:clr>
        </p15:guide>
        <p15:guide id="7" pos="257">
          <p15:clr>
            <a:srgbClr val="A4A3A4"/>
          </p15:clr>
        </p15:guide>
        <p15:guide id="8" orient="horz" pos="1117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orient="horz" pos="32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9EAE858-7D83-1246-D5F5-645F93DD8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2411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EAE858-7D83-1246-D5F5-645F93DD8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>
          <a:xfrm>
            <a:off x="1055689" y="512676"/>
            <a:ext cx="5111750" cy="1080000"/>
          </a:xfrm>
        </p:spPr>
        <p:txBody>
          <a:bodyPr vert="horz"/>
          <a:lstStyle>
            <a:lvl1pPr>
              <a:tabLst>
                <a:tab pos="981075" algn="l"/>
              </a:tabLst>
              <a:defRPr sz="3400"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1" y="1772388"/>
            <a:ext cx="5111437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8C1DE1A5-B04A-ED93-AB14-36D90A894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2" name="Bildkontrast">
            <a:extLst>
              <a:ext uri="{FF2B5EF4-FFF2-40B4-BE49-F238E27FC236}">
                <a16:creationId xmlns:a16="http://schemas.microsoft.com/office/drawing/2014/main" id="{DF82BC46-76C1-F13C-BA0F-B54D6BD47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8CE09315-8CA6-25EE-10AD-C862A986AE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20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55687" y="6453000"/>
            <a:ext cx="4752976" cy="144000"/>
          </a:xfrm>
        </p:spPr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0A95584F-82B1-B519-4C34-3052DEDAEAD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888000" y="6453000"/>
            <a:ext cx="720000" cy="14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F9BAEB-3E19-4ECF-83E5-EF012BAFDFC5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548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203">
          <p15:clr>
            <a:srgbClr val="F26B43"/>
          </p15:clr>
        </p15:guide>
        <p15:guide id="4" pos="3885">
          <p15:clr>
            <a:srgbClr val="F26B43"/>
          </p15:clr>
        </p15:guide>
        <p15:guide id="5" pos="665">
          <p15:clr>
            <a:srgbClr val="F26B43"/>
          </p15:clr>
        </p15:guide>
        <p15:guide id="6" pos="257">
          <p15:clr>
            <a:srgbClr val="A4A3A4"/>
          </p15:clr>
        </p15:guide>
        <p15:guide id="7" orient="horz" pos="323" userDrawn="1">
          <p15:clr>
            <a:srgbClr val="F26B43"/>
          </p15:clr>
        </p15:guide>
        <p15:guide id="8" orient="horz" pos="1117">
          <p15:clr>
            <a:srgbClr val="F26B43"/>
          </p15:clr>
        </p15:guide>
        <p15:guide id="9" orient="horz" pos="3883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>
            <a:extLst>
              <a:ext uri="{FF2B5EF4-FFF2-40B4-BE49-F238E27FC236}">
                <a16:creationId xmlns:a16="http://schemas.microsoft.com/office/drawing/2014/main" id="{7B499CE7-FD2B-27EA-F467-D09D7287B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80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>
                        <a:extLst>
                          <a:ext uri="{FF2B5EF4-FFF2-40B4-BE49-F238E27FC236}">
                            <a16:creationId xmlns:a16="http://schemas.microsoft.com/office/drawing/2014/main" id="{7B499CE7-FD2B-27EA-F467-D09D7287B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Verlauf">
            <a:extLst>
              <a:ext uri="{FF2B5EF4-FFF2-40B4-BE49-F238E27FC236}">
                <a16:creationId xmlns:a16="http://schemas.microsoft.com/office/drawing/2014/main" id="{5066E457-A55B-A414-2582-D3B3C9977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ll">
            <a:extLst>
              <a:ext uri="{FF2B5EF4-FFF2-40B4-BE49-F238E27FC236}">
                <a16:creationId xmlns:a16="http://schemas.microsoft.com/office/drawing/2014/main" id="{62D33F38-F373-2BC2-BF2E-F352055CD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9" name="Pill">
            <a:extLst>
              <a:ext uri="{FF2B5EF4-FFF2-40B4-BE49-F238E27FC236}">
                <a16:creationId xmlns:a16="http://schemas.microsoft.com/office/drawing/2014/main" id="{A8DABEAB-EF89-8EF5-5E32-0F3EE1558F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>
          <a:xfrm>
            <a:off x="1055689" y="512796"/>
            <a:ext cx="5111750" cy="1080000"/>
          </a:xfrm>
        </p:spPr>
        <p:txBody>
          <a:bodyPr vert="horz"/>
          <a:lstStyle>
            <a:lvl1pPr>
              <a:tabLst>
                <a:tab pos="1973263" algn="l"/>
              </a:tabLst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056001" y="1772388"/>
            <a:ext cx="5111454" cy="4392612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DC2D9A4-1CC4-B1B6-FEB6-6A84647912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13" name="Bildkontrast">
            <a:extLst>
              <a:ext uri="{FF2B5EF4-FFF2-40B4-BE49-F238E27FC236}">
                <a16:creationId xmlns:a16="http://schemas.microsoft.com/office/drawing/2014/main" id="{55763AF0-5E30-A5B1-66E8-7423EFD6EF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8CE09315-8CA6-25EE-10AD-C862A986AE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2000" y="6414338"/>
            <a:ext cx="532800" cy="2088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55687" y="6453000"/>
            <a:ext cx="4752976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0A95584F-82B1-B519-4C34-3052DEDAEAD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888000" y="6453000"/>
            <a:ext cx="720000" cy="14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45CF6B0-EA7D-47D6-8CE1-29D2B02F05A3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77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885">
          <p15:clr>
            <a:srgbClr val="F26B43"/>
          </p15:clr>
        </p15:guide>
        <p15:guide id="5" pos="4203">
          <p15:clr>
            <a:srgbClr val="F26B43"/>
          </p15:clr>
        </p15:guide>
        <p15:guide id="6" pos="665">
          <p15:clr>
            <a:srgbClr val="F26B43"/>
          </p15:clr>
        </p15:guide>
        <p15:guide id="7" pos="257">
          <p15:clr>
            <a:srgbClr val="A4A3A4"/>
          </p15:clr>
        </p15:guide>
        <p15:guide id="8" orient="horz" pos="323" userDrawn="1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3883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FBDD7BE-F636-39CC-30B8-30054345D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735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BDD7BE-F636-39CC-30B8-30054345D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192E0D-DE58-4606-A78A-33A4683AEBDD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13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3" userDrawn="1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C3066B1-77F4-F1FD-CE8E-7FCDC0863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66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066B1-77F4-F1FD-CE8E-7FCDC086392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Verlauf">
            <a:extLst>
              <a:ext uri="{FF2B5EF4-FFF2-40B4-BE49-F238E27FC236}">
                <a16:creationId xmlns:a16="http://schemas.microsoft.com/office/drawing/2014/main" id="{D20B09AF-858C-FD21-E0D5-D75B184C7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ll">
            <a:extLst>
              <a:ext uri="{FF2B5EF4-FFF2-40B4-BE49-F238E27FC236}">
                <a16:creationId xmlns:a16="http://schemas.microsoft.com/office/drawing/2014/main" id="{1A600FCA-A019-150E-D8EC-3F5D55E865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7" name="Pill">
            <a:extLst>
              <a:ext uri="{FF2B5EF4-FFF2-40B4-BE49-F238E27FC236}">
                <a16:creationId xmlns:a16="http://schemas.microsoft.com/office/drawing/2014/main" id="{F73F360A-1697-9F18-4A08-4AB1920B3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9F1461C9-A40F-F091-2E1B-93C5C9A2E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C16972-2E76-4ED4-B55F-0EF541040E6C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33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7423">
          <p15:clr>
            <a:srgbClr val="F26B43"/>
          </p15:clr>
        </p15:guide>
        <p15:guide id="3" pos="665">
          <p15:clr>
            <a:srgbClr val="F26B43"/>
          </p15:clr>
        </p15:guide>
        <p15:guide id="4" pos="257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2FBFCFB-A9AA-A84A-7D9C-B31CA5FCDC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20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FBFCFB-A9AA-A84A-7D9C-B31CA5FCD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5BD02BA-3135-ABF6-C2CA-BDC4C15FC2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12" name="Bildkontrast">
            <a:extLst>
              <a:ext uri="{FF2B5EF4-FFF2-40B4-BE49-F238E27FC236}">
                <a16:creationId xmlns:a16="http://schemas.microsoft.com/office/drawing/2014/main" id="{E0A85DBA-4C45-C312-2E67-3B22B7C61F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5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ll_TextPH">
            <a:extLst>
              <a:ext uri="{FF2B5EF4-FFF2-40B4-BE49-F238E27FC236}">
                <a16:creationId xmlns:a16="http://schemas.microsoft.com/office/drawing/2014/main" id="{3BCA9726-4623-39C2-ACEC-2ED9D7201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small_TextPH">
            <a:extLst>
              <a:ext uri="{FF2B5EF4-FFF2-40B4-BE49-F238E27FC236}">
                <a16:creationId xmlns:a16="http://schemas.microsoft.com/office/drawing/2014/main" id="{0850F0EC-87EA-53D9-7DD0-6C5A4C6C7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22EE31-1ADF-E57C-A107-DD1EBCE51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/>
              <a:t>Add a maximum two-lin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18E0518-32F6-7903-1F76-43480DB649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5650" y="1773975"/>
            <a:ext cx="7920000" cy="4391025"/>
          </a:xfrm>
        </p:spPr>
        <p:txBody>
          <a:bodyPr anchor="ctr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dd a sentence or quote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BC78BF6-93CB-4652-B099-24B9654BC578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896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54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23" userDrawn="1">
          <p15:clr>
            <a:srgbClr val="F26B43"/>
          </p15:clr>
        </p15:guide>
        <p15:guide id="6" pos="7423">
          <p15:clr>
            <a:srgbClr val="A4A3A4"/>
          </p15:clr>
        </p15:guide>
        <p15:guide id="7" pos="257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D7FBAF0-31B3-3178-3418-830251BBF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53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7FBAF0-31B3-3178-3418-830251BBF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E351952E-1586-EFD7-6DF7-9AFD174106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r>
              <a:rPr lang="en-GB"/>
              <a:t>Add  Picture</a:t>
            </a:r>
          </a:p>
          <a:p>
            <a:pPr lvl="8"/>
            <a:endParaRPr lang="en-GB"/>
          </a:p>
        </p:txBody>
      </p:sp>
      <p:sp>
        <p:nvSpPr>
          <p:cNvPr id="13" name="Bildkontrast">
            <a:extLst>
              <a:ext uri="{FF2B5EF4-FFF2-40B4-BE49-F238E27FC236}">
                <a16:creationId xmlns:a16="http://schemas.microsoft.com/office/drawing/2014/main" id="{6C5587DE-1BB4-FEC4-51C5-6BCDD26BA0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small_TextPH">
            <a:extLst>
              <a:ext uri="{FF2B5EF4-FFF2-40B4-BE49-F238E27FC236}">
                <a16:creationId xmlns:a16="http://schemas.microsoft.com/office/drawing/2014/main" id="{CAB8B82F-418E-0DA5-6388-1514CF9953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Pill_TextPH">
            <a:extLst>
              <a:ext uri="{FF2B5EF4-FFF2-40B4-BE49-F238E27FC236}">
                <a16:creationId xmlns:a16="http://schemas.microsoft.com/office/drawing/2014/main" id="{78945607-C7CC-6448-E3FB-442C0A19F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22EE31-1ADF-E57C-A107-DD1EBCE51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C7557111-B1A9-101D-9318-C0C8B99CA2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5650" y="1773975"/>
            <a:ext cx="7920000" cy="4391025"/>
          </a:xfrm>
        </p:spPr>
        <p:txBody>
          <a:bodyPr anchor="ctr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Add a sentence or quote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F31ABD-5520-400E-8A73-C5477C5CE670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34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54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card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8FF6DB8-1B48-300B-FAA1-7D566E0A1F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737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F6DB8-1B48-300B-FAA1-7D566E0A1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C2388F7-C332-2E8F-20A9-9D4FE63ED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7" name="Bildkontrast">
            <a:extLst>
              <a:ext uri="{FF2B5EF4-FFF2-40B4-BE49-F238E27FC236}">
                <a16:creationId xmlns:a16="http://schemas.microsoft.com/office/drawing/2014/main" id="{AE30FB6A-A54C-85E6-CCAA-86F1BB44E2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small_TextPH">
            <a:extLst>
              <a:ext uri="{FF2B5EF4-FFF2-40B4-BE49-F238E27FC236}">
                <a16:creationId xmlns:a16="http://schemas.microsoft.com/office/drawing/2014/main" id="{020D6E7B-4B01-8327-B4BB-840F2198B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ll_TextPH">
            <a:extLst>
              <a:ext uri="{FF2B5EF4-FFF2-40B4-BE49-F238E27FC236}">
                <a16:creationId xmlns:a16="http://schemas.microsoft.com/office/drawing/2014/main" id="{B4F86BE9-F3A2-2AC9-D486-8317E68311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22EE31-1ADF-E57C-A107-DD1EBCE51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12" name="Inhaltsplatzhalter 15">
            <a:extLst>
              <a:ext uri="{FF2B5EF4-FFF2-40B4-BE49-F238E27FC236}">
                <a16:creationId xmlns:a16="http://schemas.microsoft.com/office/drawing/2014/main" id="{72745784-6FC3-9DBD-BFD8-44C14446FBF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320000" y="1773000"/>
            <a:ext cx="4032000" cy="4392000"/>
          </a:xfrm>
          <a:prstGeom prst="roundRect">
            <a:avLst>
              <a:gd name="adj" fmla="val 2835"/>
            </a:avLst>
          </a:prstGeom>
          <a:solidFill>
            <a:schemeClr val="tx2"/>
          </a:solidFill>
        </p:spPr>
        <p:txBody>
          <a:bodyPr lIns="216000" tIns="216000" rIns="216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B4BE1F3-A87D-4994-818F-83C254C01D01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90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151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323" userDrawn="1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  <p15:guide id="8" pos="46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car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9B3D245-2CEA-9AA1-6FCF-D4FBEFA5A0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05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B3D245-2CEA-9AA1-6FCF-D4FBEFA5A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9C15206D-9AF7-8060-6A49-DF17333E2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r>
              <a:rPr lang="en-GB"/>
              <a:t>Add  Picture</a:t>
            </a:r>
          </a:p>
          <a:p>
            <a:pPr lvl="8"/>
            <a:endParaRPr lang="en-GB"/>
          </a:p>
        </p:txBody>
      </p:sp>
      <p:sp>
        <p:nvSpPr>
          <p:cNvPr id="7" name="Bildkontrast">
            <a:extLst>
              <a:ext uri="{FF2B5EF4-FFF2-40B4-BE49-F238E27FC236}">
                <a16:creationId xmlns:a16="http://schemas.microsoft.com/office/drawing/2014/main" id="{2209CCB1-5813-6601-5750-4C67A94500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small_TextPH">
            <a:extLst>
              <a:ext uri="{FF2B5EF4-FFF2-40B4-BE49-F238E27FC236}">
                <a16:creationId xmlns:a16="http://schemas.microsoft.com/office/drawing/2014/main" id="{926F034F-E817-5B36-135F-E64D51D978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ll_TextPH">
            <a:extLst>
              <a:ext uri="{FF2B5EF4-FFF2-40B4-BE49-F238E27FC236}">
                <a16:creationId xmlns:a16="http://schemas.microsoft.com/office/drawing/2014/main" id="{342DB53C-383B-5FDD-132E-21C49D9020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22EE31-1ADF-E57C-A107-DD1EBCE51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a maximum two-line tit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1EE43ED3-0051-9C76-C030-0F05D83AD00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320000" y="1773000"/>
            <a:ext cx="4032000" cy="4392000"/>
          </a:xfrm>
          <a:prstGeom prst="roundRect">
            <a:avLst>
              <a:gd name="adj" fmla="val 2835"/>
            </a:avLst>
          </a:prstGeom>
          <a:solidFill>
            <a:schemeClr val="bg1"/>
          </a:solidFill>
        </p:spPr>
        <p:txBody>
          <a:bodyPr lIns="216000" tIns="216000" rIns="216000"/>
          <a:lstStyle/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FCCB1B-EEB0-4A82-902C-CC8FB08D245F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30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151">
          <p15:clr>
            <a:srgbClr val="F26B43"/>
          </p15:clr>
        </p15:guide>
        <p15:guide id="4" pos="4611">
          <p15:clr>
            <a:srgbClr val="F26B43"/>
          </p15:clr>
        </p15:guide>
        <p15:guide id="5" pos="7423">
          <p15:clr>
            <a:srgbClr val="A4A3A4"/>
          </p15:clr>
        </p15:guide>
        <p15:guide id="6" pos="257">
          <p15:clr>
            <a:srgbClr val="A4A3A4"/>
          </p15:clr>
        </p15:guide>
        <p15:guide id="7" pos="665">
          <p15:clr>
            <a:srgbClr val="F26B43"/>
          </p15:clr>
        </p15:guide>
        <p15:guide id="8" orient="horz" pos="323" userDrawn="1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3883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A2E033-2A48-4869-3792-E33CD44E9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58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A2E033-2A48-4869-3792-E33CD44E9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12">
            <a:extLst>
              <a:ext uri="{FF2B5EF4-FFF2-40B4-BE49-F238E27FC236}">
                <a16:creationId xmlns:a16="http://schemas.microsoft.com/office/drawing/2014/main" id="{E0F43B14-2D94-B7D9-2480-0CD508217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8000" y="621000"/>
            <a:ext cx="11376012" cy="55448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b="1">
                <a:solidFill>
                  <a:schemeClr val="tx2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de-DE" sz="4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Add a powerful messag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2C91A2E-4FA7-42DF-8A3D-E5B0B54B7948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03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725F2B-7ACB-05F5-B3D7-C02685D35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4562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725F2B-7ACB-05F5-B3D7-C02685D35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5DA1B8D-3DCE-A530-1FEC-2E35C88D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1" y="1269000"/>
            <a:ext cx="8280750" cy="1800000"/>
          </a:xfrm>
        </p:spPr>
        <p:txBody>
          <a:bodyPr vert="horz" anchor="b" anchorCtr="0"/>
          <a:lstStyle>
            <a:lvl1pPr>
              <a:lnSpc>
                <a:spcPct val="8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1" y="3213000"/>
            <a:ext cx="8280749" cy="187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65A73C-A722-36D8-2989-21881458F7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8349" y="6381100"/>
            <a:ext cx="8280401" cy="2160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Place | Date</a:t>
            </a:r>
          </a:p>
        </p:txBody>
      </p:sp>
      <p:pic>
        <p:nvPicPr>
          <p:cNvPr id="5" name="Pill_small">
            <a:extLst>
              <a:ext uri="{FF2B5EF4-FFF2-40B4-BE49-F238E27FC236}">
                <a16:creationId xmlns:a16="http://schemas.microsoft.com/office/drawing/2014/main" id="{AF33988A-A889-CE3D-1F77-FE4B05D01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08000" y="6481979"/>
            <a:ext cx="216000" cy="98743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90DCB562-3B1C-F7F5-F354-6234DC8BF1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945900" y="366900"/>
            <a:ext cx="1980000" cy="781224"/>
          </a:xfrm>
          <a:prstGeom prst="rect">
            <a:avLst/>
          </a:prstGeom>
        </p:spPr>
      </p:pic>
      <p:sp>
        <p:nvSpPr>
          <p:cNvPr id="8" name="Arrow">
            <a:extLst>
              <a:ext uri="{FF2B5EF4-FFF2-40B4-BE49-F238E27FC236}">
                <a16:creationId xmlns:a16="http://schemas.microsoft.com/office/drawing/2014/main" id="{230985C2-B223-BE1C-0204-CF27E13DA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0920000" y="5445000"/>
            <a:ext cx="720000" cy="7200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91067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F3A7955-C22B-5737-58FA-E5D7B93A5A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951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3A7955-C22B-5737-58FA-E5D7B93A5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4CBDEEB2-75FC-B928-E2AF-8F3F8CC263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278021E0-1341-2E63-F4B7-7F376E56CC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TextPH">
            <a:extLst>
              <a:ext uri="{FF2B5EF4-FFF2-40B4-BE49-F238E27FC236}">
                <a16:creationId xmlns:a16="http://schemas.microsoft.com/office/drawing/2014/main" id="{C5623078-745F-DB2B-4116-8DE5BDB26C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32CD0E68-9BA8-CD6A-51AC-AE3A79583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8000" y="621000"/>
            <a:ext cx="11376012" cy="55448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b="1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de-DE" sz="4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Add a powerful messag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BA85C3-EF45-40DD-9881-1FAAE1C7252F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55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257">
          <p15:clr>
            <a:srgbClr val="F26B43"/>
          </p15:clr>
        </p15:guide>
        <p15:guide id="5" pos="7423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and Picture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BA8DB1F-6471-6952-7D09-B15FFBD56A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533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A8DB1F-6471-6952-7D09-B15FFBD56A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3">
            <a:extLst>
              <a:ext uri="{FF2B5EF4-FFF2-40B4-BE49-F238E27FC236}">
                <a16:creationId xmlns:a16="http://schemas.microsoft.com/office/drawing/2014/main" id="{63CBC123-F43D-EEAD-7118-63305B582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10" name="Bildkontrast">
            <a:extLst>
              <a:ext uri="{FF2B5EF4-FFF2-40B4-BE49-F238E27FC236}">
                <a16:creationId xmlns:a16="http://schemas.microsoft.com/office/drawing/2014/main" id="{F75D921E-2F6A-AA9B-D8DD-AF995FD4CB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278021E0-1341-2E63-F4B7-7F376E56CC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TextPH">
            <a:extLst>
              <a:ext uri="{FF2B5EF4-FFF2-40B4-BE49-F238E27FC236}">
                <a16:creationId xmlns:a16="http://schemas.microsoft.com/office/drawing/2014/main" id="{C5623078-745F-DB2B-4116-8DE5BDB26C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E4C728A9-E5D0-E33B-F722-A7A517765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4295C1C6-C01D-8D3A-0B8E-2991E94B5E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8000" y="621000"/>
            <a:ext cx="11376012" cy="55448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b="1">
                <a:solidFill>
                  <a:schemeClr val="tx2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tx2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de-DE" sz="4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Add a powerful messag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D052296-389A-4A92-91D0-E6EAC0717912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89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and Pictur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6059C98-A821-13CA-1AE8-F94496123A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47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059C98-A821-13CA-1AE8-F94496123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9">
            <a:extLst>
              <a:ext uri="{FF2B5EF4-FFF2-40B4-BE49-F238E27FC236}">
                <a16:creationId xmlns:a16="http://schemas.microsoft.com/office/drawing/2014/main" id="{20B3EFEC-5DFD-F347-007B-8612027C3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r>
              <a:rPr lang="en-GB"/>
              <a:t>Add  Picture</a:t>
            </a:r>
          </a:p>
          <a:p>
            <a:pPr lvl="8"/>
            <a:endParaRPr lang="en-GB"/>
          </a:p>
        </p:txBody>
      </p:sp>
      <p:sp>
        <p:nvSpPr>
          <p:cNvPr id="10" name="Bildkontrast">
            <a:extLst>
              <a:ext uri="{FF2B5EF4-FFF2-40B4-BE49-F238E27FC236}">
                <a16:creationId xmlns:a16="http://schemas.microsoft.com/office/drawing/2014/main" id="{5DD4BD8A-7FB0-3DE5-1569-DEBDA08136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25C40213-6EF5-E0DE-8879-CCCA605A6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11323200" y="6414338"/>
            <a:ext cx="532800" cy="2088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774" b="-774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278021E0-1341-2E63-F4B7-7F376E56CC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ll_TextPH">
            <a:extLst>
              <a:ext uri="{FF2B5EF4-FFF2-40B4-BE49-F238E27FC236}">
                <a16:creationId xmlns:a16="http://schemas.microsoft.com/office/drawing/2014/main" id="{C5623078-745F-DB2B-4116-8DE5BDB26C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407988" y="613857"/>
            <a:ext cx="432000" cy="1944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82EEFDCD-E360-6A59-4D0D-A5E3B85A39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8000" y="621000"/>
            <a:ext cx="11376012" cy="55448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b="1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de-DE" sz="4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Add a powerful messag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D8C9F0-8D5E-43DD-B134-2A3229DE90E6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514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257">
          <p15:clr>
            <a:srgbClr val="F26B43"/>
          </p15:clr>
        </p15:guide>
        <p15:guide id="5" pos="7423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/>
          <a:p>
            <a:fld id="{8FF9B0DE-3FEB-4AA0-B465-B80EF7C1333D}" type="slidenum">
              <a:rPr lang="en-GB" smtClean="0"/>
              <a:t>‹Nr.›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4A9EE01-C724-4AFA-914D-16C3EE01EA3E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437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4" orient="horz" pos="3883">
          <p15:clr>
            <a:srgbClr val="F26B43"/>
          </p15:clr>
        </p15:guide>
        <p15:guide id="5" pos="742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erlauf">
            <a:extLst>
              <a:ext uri="{FF2B5EF4-FFF2-40B4-BE49-F238E27FC236}">
                <a16:creationId xmlns:a16="http://schemas.microsoft.com/office/drawing/2014/main" id="{D20B09AF-858C-FD21-E0D5-D75B184C7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9F1461C9-A40F-F091-2E1B-93C5C9A2E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pic>
        <p:nvPicPr>
          <p:cNvPr id="8" name="Pill">
            <a:extLst>
              <a:ext uri="{FF2B5EF4-FFF2-40B4-BE49-F238E27FC236}">
                <a16:creationId xmlns:a16="http://schemas.microsoft.com/office/drawing/2014/main" id="{E08207D5-01ED-BC36-1620-025F76780F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10" name="Pill">
            <a:extLst>
              <a:ext uri="{FF2B5EF4-FFF2-40B4-BE49-F238E27FC236}">
                <a16:creationId xmlns:a16="http://schemas.microsoft.com/office/drawing/2014/main" id="{BE3E8EC2-95A7-7C41-9349-0E27C12B62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A55BC1-CD7C-4AF8-B5F2-125A20EBAF6B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5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257">
          <p15:clr>
            <a:srgbClr val="A4A3A4"/>
          </p15:clr>
        </p15:guide>
        <p15:guide id="3" pos="665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D9556C5-8B8C-691F-27C1-C0386C45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40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9556C5-8B8C-691F-27C1-C0386C45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Logo">
            <a:extLst>
              <a:ext uri="{FF2B5EF4-FFF2-40B4-BE49-F238E27FC236}">
                <a16:creationId xmlns:a16="http://schemas.microsoft.com/office/drawing/2014/main" id="{6E8DF580-9E85-A863-0BF3-258D45166F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945900" y="366900"/>
            <a:ext cx="1980000" cy="781224"/>
          </a:xfrm>
          <a:prstGeom prst="rect">
            <a:avLst/>
          </a:prstGeom>
        </p:spPr>
      </p:pic>
      <p:pic>
        <p:nvPicPr>
          <p:cNvPr id="8" name="Pill">
            <a:extLst>
              <a:ext uri="{FF2B5EF4-FFF2-40B4-BE49-F238E27FC236}">
                <a16:creationId xmlns:a16="http://schemas.microsoft.com/office/drawing/2014/main" id="{9D1502B7-3F24-3C3F-49CD-A47584DD3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13F1208E-2CF2-8CF2-7AE6-9167FBF68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CA3DB1B4-53DC-A4EA-7ADC-8B8505FE2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421000"/>
            <a:ext cx="8424000" cy="3744000"/>
          </a:xfrm>
        </p:spPr>
        <p:txBody>
          <a:bodyPr vert="horz"/>
          <a:lstStyle>
            <a:lvl1pPr>
              <a:defRPr sz="8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BA7697A-85F2-4C59-6F4E-C59772072E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Add company name and addre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55687" y="6453000"/>
            <a:ext cx="4824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D16523-8C7E-4FD6-A47A-6AF54996CCF1}" type="datetime1">
              <a:rPr lang="en-GB" smtClean="0"/>
              <a:t>18/11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8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425">
          <p15:clr>
            <a:srgbClr val="A4A3A4"/>
          </p15:clr>
        </p15:guide>
        <p15:guide id="2" orient="horz" pos="1525">
          <p15:clr>
            <a:srgbClr val="F26B43"/>
          </p15:clr>
        </p15:guide>
        <p15:guide id="7" pos="5972">
          <p15:clr>
            <a:srgbClr val="F26B43"/>
          </p15:clr>
        </p15:guide>
        <p15:guide id="9" pos="665">
          <p15:clr>
            <a:srgbClr val="F26B43"/>
          </p15:clr>
        </p15:guide>
        <p15:guide id="10" orient="horz" pos="388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EEF9155-EE20-D3CA-DD92-01E0FB74B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31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EF9155-EE20-D3CA-DD92-01E0FB74B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dient">
            <a:extLst>
              <a:ext uri="{FF2B5EF4-FFF2-40B4-BE49-F238E27FC236}">
                <a16:creationId xmlns:a16="http://schemas.microsoft.com/office/drawing/2014/main" id="{31C9061C-135B-7D39-F3B0-52C4E55CAF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5DA1B8D-3DCE-A530-1FEC-2E35C88D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1" y="1269000"/>
            <a:ext cx="8280750" cy="1800000"/>
          </a:xfrm>
        </p:spPr>
        <p:txBody>
          <a:bodyPr vert="horz" anchor="b" anchorCtr="0"/>
          <a:lstStyle>
            <a:lvl1pPr>
              <a:lnSpc>
                <a:spcPct val="8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3" name="Untertitel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1" y="3213000"/>
            <a:ext cx="8280749" cy="187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201A347-F79F-92F1-94F1-D7D4F7C345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8349" y="6381100"/>
            <a:ext cx="8280401" cy="2160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Place | Dat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9480952-B8AA-375F-48D8-8A4929F55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945900" y="366900"/>
            <a:ext cx="1980000" cy="781224"/>
          </a:xfrm>
          <a:prstGeom prst="rect">
            <a:avLst/>
          </a:prstGeom>
        </p:spPr>
      </p:pic>
      <p:sp>
        <p:nvSpPr>
          <p:cNvPr id="2" name="Pill_small_TextPH">
            <a:extLst>
              <a:ext uri="{FF2B5EF4-FFF2-40B4-BE49-F238E27FC236}">
                <a16:creationId xmlns:a16="http://schemas.microsoft.com/office/drawing/2014/main" id="{ABEAE662-A103-9D7A-2778-58B4D4DDF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407988" y="6481979"/>
            <a:ext cx="215900" cy="9720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Arrow">
            <a:extLst>
              <a:ext uri="{FF2B5EF4-FFF2-40B4-BE49-F238E27FC236}">
                <a16:creationId xmlns:a16="http://schemas.microsoft.com/office/drawing/2014/main" id="{71910733-75D9-EA24-14FA-A3C0A8A86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0920000" y="5445000"/>
            <a:ext cx="720000" cy="720000"/>
          </a:xfrm>
          <a:prstGeom prst="rect">
            <a:avLst/>
          </a:pr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785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Picture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8F9CC4F-72C1-9CB1-A14F-074F35DF4C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25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F9CC4F-72C1-9CB1-A14F-074F35DF4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22AFC4E-7444-AAD1-46FC-BB6853DA89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607425" algn="l"/>
              </a:tabLst>
              <a:defRPr sz="1000" b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/>
            </a:lvl9pPr>
          </a:lstStyle>
          <a:p>
            <a:r>
              <a:rPr lang="en-GB"/>
              <a:t>Add  Picture</a:t>
            </a:r>
          </a:p>
        </p:txBody>
      </p:sp>
      <p:sp>
        <p:nvSpPr>
          <p:cNvPr id="5" name="Bildkontrast">
            <a:extLst>
              <a:ext uri="{FF2B5EF4-FFF2-40B4-BE49-F238E27FC236}">
                <a16:creationId xmlns:a16="http://schemas.microsoft.com/office/drawing/2014/main" id="{3639B452-EC7D-BF1A-07F8-BEB5B1C92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5DA1B8D-3DCE-A530-1FEC-2E35C88D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1" y="1269000"/>
            <a:ext cx="8280750" cy="1800000"/>
          </a:xfrm>
        </p:spPr>
        <p:txBody>
          <a:bodyPr vert="horz" anchor="b" anchorCtr="0"/>
          <a:lstStyle>
            <a:lvl1pPr>
              <a:lnSpc>
                <a:spcPct val="85000"/>
              </a:lnSpc>
              <a:defRPr sz="5200"/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1" y="3213000"/>
            <a:ext cx="8280749" cy="187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3FF88096-6C49-1451-EB92-E5E2BC16ED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8349" y="6381100"/>
            <a:ext cx="8280401" cy="2160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Place | Date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164FF3D2-32EC-360C-70D7-B6B524355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9945900" y="366900"/>
            <a:ext cx="1980000" cy="7812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Arrow">
            <a:extLst>
              <a:ext uri="{FF2B5EF4-FFF2-40B4-BE49-F238E27FC236}">
                <a16:creationId xmlns:a16="http://schemas.microsoft.com/office/drawing/2014/main" id="{7ED359A5-AD86-85BA-0C81-D5926F376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0920000" y="5445000"/>
            <a:ext cx="720000" cy="7200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Pill_small_TextPH">
            <a:extLst>
              <a:ext uri="{FF2B5EF4-FFF2-40B4-BE49-F238E27FC236}">
                <a16:creationId xmlns:a16="http://schemas.microsoft.com/office/drawing/2014/main" id="{B7472438-0CDB-1E5D-7E50-6063D6DE9D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407988" y="6481979"/>
            <a:ext cx="215900" cy="972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843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Pictur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FB0FDDB-A961-9532-7262-F63096E20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44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B0FDDB-A961-9532-7262-F63096E20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E78C348-519D-0A32-5392-9E0129C90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 bIns="576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1000" b="0">
                <a:solidFill>
                  <a:schemeClr val="bg1"/>
                </a:solidFill>
              </a:defRPr>
            </a:lvl9pPr>
          </a:lstStyle>
          <a:p>
            <a:r>
              <a:rPr lang="en-GB"/>
              <a:t>Add  Picture</a:t>
            </a:r>
          </a:p>
          <a:p>
            <a:pPr lvl="8"/>
            <a:endParaRPr lang="en-GB"/>
          </a:p>
        </p:txBody>
      </p:sp>
      <p:sp>
        <p:nvSpPr>
          <p:cNvPr id="4" name="Bildkontrast">
            <a:extLst>
              <a:ext uri="{FF2B5EF4-FFF2-40B4-BE49-F238E27FC236}">
                <a16:creationId xmlns:a16="http://schemas.microsoft.com/office/drawing/2014/main" id="{1E06408D-6EC6-57B1-31FB-9D5F7492BE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0000"/>
                </a:schemeClr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5DA1B8D-3DCE-A530-1FEC-2E35C88D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1" y="1269000"/>
            <a:ext cx="8280750" cy="1800000"/>
          </a:xfrm>
        </p:spPr>
        <p:txBody>
          <a:bodyPr vert="horz" anchor="b" anchorCtr="0"/>
          <a:lstStyle>
            <a:lvl1pPr>
              <a:lnSpc>
                <a:spcPct val="8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1" y="3213000"/>
            <a:ext cx="8280749" cy="187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/>
              <a:t>Subtitle of the </a:t>
            </a:r>
            <a:r>
              <a:rPr lang="en-GB" err="1"/>
              <a:t>presentatio</a:t>
            </a:r>
            <a:endParaRPr lang="en-GB"/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739350E-2979-D47B-334C-37F1CC1113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8349" y="6381100"/>
            <a:ext cx="8280401" cy="2160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Place | Date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164FF3D2-32EC-360C-70D7-B6B524355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9945900" y="366900"/>
            <a:ext cx="1980000" cy="7812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Arrow">
            <a:extLst>
              <a:ext uri="{FF2B5EF4-FFF2-40B4-BE49-F238E27FC236}">
                <a16:creationId xmlns:a16="http://schemas.microsoft.com/office/drawing/2014/main" id="{0CBF9589-32BE-207C-0458-B3216DEB2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0920000" y="5445000"/>
            <a:ext cx="720000" cy="7200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Pill_small_TextPH">
            <a:extLst>
              <a:ext uri="{FF2B5EF4-FFF2-40B4-BE49-F238E27FC236}">
                <a16:creationId xmlns:a16="http://schemas.microsoft.com/office/drawing/2014/main" id="{B1C6230C-21C7-FFD0-5494-C0A4215647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407988" y="6481979"/>
            <a:ext cx="215900" cy="97200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502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7C93870-2A84-760E-6E40-D6AFF40E1B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5095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C93870-2A84-760E-6E40-D6AFF40E1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Add Agenda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45D3CA-8B6A-4AC7-B3E2-4D57B2215064}" type="datetime1">
              <a:rPr lang="en-GB" smtClean="0"/>
              <a:t>18/11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55688" y="1773238"/>
            <a:ext cx="10728000" cy="4392612"/>
          </a:xfrm>
          <a:prstGeom prst="rect">
            <a:avLst/>
          </a:prstGeom>
        </p:spPr>
        <p:txBody>
          <a:bodyPr numCol="2" spcCol="504000"/>
          <a:lstStyle>
            <a:lvl1pPr marL="360000" indent="-360000">
              <a:spcBef>
                <a:spcPts val="1800"/>
              </a:spcBef>
              <a:buFont typeface="+mj-lt"/>
              <a:buAutoNum type="arabicPeriod"/>
              <a:defRPr sz="1800" b="1">
                <a:solidFill>
                  <a:schemeClr val="tx2"/>
                </a:solidFill>
              </a:defRPr>
            </a:lvl1pPr>
            <a:lvl2pPr marL="360000" indent="0">
              <a:spcBef>
                <a:spcPts val="200"/>
              </a:spcBef>
              <a:spcAft>
                <a:spcPts val="200"/>
              </a:spcAft>
              <a:buFont typeface="+mj-lt"/>
              <a:buNone/>
              <a:defRPr sz="1600" b="1"/>
            </a:lvl2pPr>
            <a:lvl3pPr marL="360000" indent="0">
              <a:spcBef>
                <a:spcPts val="200"/>
              </a:spcBef>
              <a:spcAft>
                <a:spcPts val="200"/>
              </a:spcAft>
              <a:buFont typeface="Fira Sans" panose="020B0503050000020004" pitchFamily="34" charset="0"/>
              <a:buNone/>
              <a:defRPr/>
            </a:lvl3pPr>
            <a:lvl4pPr marL="503238" indent="-144000">
              <a:spcBef>
                <a:spcPts val="200"/>
              </a:spcBef>
              <a:spcAft>
                <a:spcPts val="200"/>
              </a:spcAft>
              <a:buFont typeface="Fira Sans" panose="020B0503050000020004" pitchFamily="34" charset="0"/>
              <a:buChar char="&gt;"/>
              <a:defRPr sz="1400" b="0">
                <a:solidFill>
                  <a:schemeClr val="tx1"/>
                </a:solidFill>
              </a:defRPr>
            </a:lvl4pPr>
            <a:lvl5pPr marL="720000" indent="-180000"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720000" indent="-180000"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720000" indent="-180000"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720000" indent="-180000"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720000" indent="-180000"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6777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 userDrawn="1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2C41A53-F3D3-1C21-B135-C5F120504F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546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C41A53-F3D3-1C21-B135-C5F120504F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055687" y="512676"/>
            <a:ext cx="10728000" cy="1080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Add Agenda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F574DFA-7209-492D-A297-8D0BC8B5AA05}" type="datetime1">
              <a:rPr lang="en-GB" smtClean="0"/>
              <a:t>18/11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A34E9E74-1E39-8109-360B-A3E55855FB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55854" y="177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2255F337-75B4-13CD-224C-DC966FC86B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75934" y="177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0A994108-587A-7B5F-4BD0-6F34AA17C9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55854" y="285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12" name="Textplatzhalter 26">
            <a:extLst>
              <a:ext uri="{FF2B5EF4-FFF2-40B4-BE49-F238E27FC236}">
                <a16:creationId xmlns:a16="http://schemas.microsoft.com/office/drawing/2014/main" id="{9F6EBA83-B83B-576B-64CB-ADBD6A177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775934" y="285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A85BDE73-D5CD-FDB8-02C4-D50A3BDF24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56000" y="393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16" name="Textplatzhalter 26">
            <a:extLst>
              <a:ext uri="{FF2B5EF4-FFF2-40B4-BE49-F238E27FC236}">
                <a16:creationId xmlns:a16="http://schemas.microsoft.com/office/drawing/2014/main" id="{C28D690A-02FF-09B1-EB6C-A73F9BFFB9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76080" y="393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platzhalter 24">
            <a:extLst>
              <a:ext uri="{FF2B5EF4-FFF2-40B4-BE49-F238E27FC236}">
                <a16:creationId xmlns:a16="http://schemas.microsoft.com/office/drawing/2014/main" id="{B0EEA235-157C-0DD6-1EB1-2D101F4663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56146" y="501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BC8510BB-7A4F-C027-FA67-05A980A607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76226" y="501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B5942F88-B110-49D8-9B60-2E1BDDB7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55854" y="177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9" name="Textplatzhalter 26">
            <a:extLst>
              <a:ext uri="{FF2B5EF4-FFF2-40B4-BE49-F238E27FC236}">
                <a16:creationId xmlns:a16="http://schemas.microsoft.com/office/drawing/2014/main" id="{45D253A2-A960-9F2B-AEF1-67F116504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175934" y="177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platzhalter 24">
            <a:extLst>
              <a:ext uri="{FF2B5EF4-FFF2-40B4-BE49-F238E27FC236}">
                <a16:creationId xmlns:a16="http://schemas.microsoft.com/office/drawing/2014/main" id="{4B53778D-F9BD-F40B-2FC9-0BF34E3C9B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6000" y="285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ABF3534A-653F-64D8-B01B-F7561A40B8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76080" y="285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Textplatzhalter 24">
            <a:extLst>
              <a:ext uri="{FF2B5EF4-FFF2-40B4-BE49-F238E27FC236}">
                <a16:creationId xmlns:a16="http://schemas.microsoft.com/office/drawing/2014/main" id="{614F4393-383C-9CEE-68FA-59D2E8749B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456146" y="393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F681518D-1909-6D73-E5C0-0842A0100D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176226" y="393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4" name="Textplatzhalter 24">
            <a:extLst>
              <a:ext uri="{FF2B5EF4-FFF2-40B4-BE49-F238E27FC236}">
                <a16:creationId xmlns:a16="http://schemas.microsoft.com/office/drawing/2014/main" id="{D1FC226F-83E0-2226-D377-F8376BD00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456292" y="5013474"/>
            <a:ext cx="648000" cy="468000"/>
          </a:xfrm>
          <a:prstGeom prst="rect">
            <a:avLst/>
          </a:prstGeom>
        </p:spPr>
        <p:txBody>
          <a:bodyPr lIns="0"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35" name="Textplatzhalter 26">
            <a:extLst>
              <a:ext uri="{FF2B5EF4-FFF2-40B4-BE49-F238E27FC236}">
                <a16:creationId xmlns:a16="http://schemas.microsoft.com/office/drawing/2014/main" id="{10BA3EAB-FA0C-46B7-0CD7-F2A12D81A5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7176372" y="5013000"/>
            <a:ext cx="4608066" cy="1008000"/>
          </a:xfrm>
          <a:prstGeom prst="rect">
            <a:avLst/>
          </a:prstGeom>
          <a:noFill/>
        </p:spPr>
        <p:txBody>
          <a:bodyPr tIns="82800" rIns="144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200"/>
              </a:spcBef>
              <a:spcAft>
                <a:spcPts val="0"/>
              </a:spcAft>
              <a:buNone/>
              <a:defRPr sz="1800" b="1">
                <a:latin typeface="+mn-lt"/>
              </a:defRPr>
            </a:lvl2pPr>
            <a:lvl3pPr marL="0" indent="0">
              <a:spcAft>
                <a:spcPts val="0"/>
              </a:spcAft>
              <a:buFontTx/>
              <a:buNone/>
              <a:defRPr sz="1400"/>
            </a:lvl3pPr>
            <a:lvl4pPr marL="144000" indent="-144000">
              <a:spcAft>
                <a:spcPts val="0"/>
              </a:spcAft>
              <a:buFont typeface="Fira Sans" panose="020B0503050000020004" pitchFamily="34" charset="0"/>
              <a:buChar char="&gt;"/>
              <a:defRPr sz="1400"/>
            </a:lvl4pPr>
            <a:lvl5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5pPr>
            <a:lvl6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6pPr>
            <a:lvl7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7pPr>
            <a:lvl8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8pPr>
            <a:lvl9pPr marL="288000" indent="-144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440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 userDrawn="1">
          <p15:clr>
            <a:srgbClr val="F26B43"/>
          </p15:clr>
        </p15:guide>
        <p15:guide id="6" pos="257">
          <p15:clr>
            <a:srgbClr val="A4A3A4"/>
          </p15:clr>
        </p15:guide>
        <p15:guide id="7" pos="4067">
          <p15:clr>
            <a:srgbClr val="F26B43"/>
          </p15:clr>
        </p15:guide>
        <p15:guide id="8" pos="402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225CE66-DBB8-739C-40C1-C7EF786AB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7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25CE66-DBB8-739C-40C1-C7EF786AB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BB22A48-E4FC-DF04-EDD8-73946BA75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736000" y="6309000"/>
            <a:ext cx="1080000" cy="549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algn="l">
              <a:buClr>
                <a:schemeClr val="tx2"/>
              </a:buClr>
              <a:buFont typeface="Fira Sans" panose="020B0503050000020004" pitchFamily="34" charset="0"/>
              <a:buChar char="&gt;"/>
            </a:pPr>
            <a:endParaRPr lang="de-DE" sz="1600">
              <a:solidFill>
                <a:schemeClr val="tx2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413E72D-B03A-1B4E-6E45-0A916192C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0" y="0"/>
            <a:ext cx="1872000" cy="981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055688" y="1268900"/>
            <a:ext cx="8856662" cy="2088100"/>
          </a:xfrm>
        </p:spPr>
        <p:txBody>
          <a:bodyPr vert="horz" anchor="b"/>
          <a:lstStyle>
            <a:lvl1pPr>
              <a:lnSpc>
                <a:spcPct val="85000"/>
              </a:lnSpc>
              <a:defRPr sz="5200">
                <a:solidFill>
                  <a:schemeClr val="tx2"/>
                </a:solidFill>
              </a:defRPr>
            </a:lvl1pPr>
          </a:lstStyle>
          <a:p>
            <a:r>
              <a:rPr lang="en-GB"/>
              <a:t>Name of the current sec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55688" y="3428912"/>
            <a:ext cx="8856662" cy="144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4600" b="0">
                <a:solidFill>
                  <a:schemeClr val="tx2"/>
                </a:solidFill>
              </a:defRPr>
            </a:lvl9pPr>
          </a:lstStyle>
          <a:p>
            <a:r>
              <a:rPr lang="en-GB"/>
              <a:t>Optional short description of the current sec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FF9B0DE-3FEB-4AA0-B465-B80EF7C1333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the pre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74B025-8D61-4653-BB5C-1AC49D37CE75}" type="datetime1">
              <a:rPr lang="en-GB" smtClean="0"/>
              <a:t>18/11/2025</a:t>
            </a:fld>
            <a:endParaRPr lang="en-GB"/>
          </a:p>
        </p:txBody>
      </p:sp>
      <p:sp>
        <p:nvSpPr>
          <p:cNvPr id="7" name="Arrow">
            <a:extLst>
              <a:ext uri="{FF2B5EF4-FFF2-40B4-BE49-F238E27FC236}">
                <a16:creationId xmlns:a16="http://schemas.microsoft.com/office/drawing/2014/main" id="{2DB93664-3E0D-919B-F3B1-3E8CAFEE6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 bwMode="gray">
          <a:xfrm>
            <a:off x="10632000" y="4761000"/>
            <a:ext cx="756000" cy="756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432" b="-432"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Pill_small_TextPH">
            <a:extLst>
              <a:ext uri="{FF2B5EF4-FFF2-40B4-BE49-F238E27FC236}">
                <a16:creationId xmlns:a16="http://schemas.microsoft.com/office/drawing/2014/main" id="{1A681424-DE77-3A71-67F9-9FDE8392D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 bwMode="gray">
          <a:xfrm>
            <a:off x="6156000" y="6481979"/>
            <a:ext cx="215900" cy="972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-770" b="-770"/>
            </a:stretch>
          </a:blipFill>
        </p:spPr>
        <p:txBody>
          <a:bodyPr/>
          <a:lstStyle>
            <a:lvl1pPr marL="0" indent="0">
              <a:buFontTx/>
              <a:buNone/>
              <a:defRPr sz="400" b="0">
                <a:noFill/>
              </a:defRPr>
            </a:lvl1pPr>
            <a:lvl2pPr marL="0" indent="0">
              <a:buFontTx/>
              <a:buNone/>
              <a:defRPr sz="400" b="0"/>
            </a:lvl2pPr>
            <a:lvl3pPr marL="0" indent="0">
              <a:buFontTx/>
              <a:buNone/>
              <a:defRPr sz="400" b="0"/>
            </a:lvl3pPr>
            <a:lvl4pPr marL="0" indent="0">
              <a:buFontTx/>
              <a:buNone/>
              <a:defRPr sz="400" b="0"/>
            </a:lvl4pPr>
            <a:lvl5pPr marL="0" indent="0">
              <a:buFontTx/>
              <a:buNone/>
              <a:defRPr sz="400" b="0"/>
            </a:lvl5pPr>
            <a:lvl6pPr marL="0" indent="0">
              <a:buFontTx/>
              <a:buNone/>
              <a:defRPr sz="400" b="0"/>
            </a:lvl6pPr>
            <a:lvl7pPr marL="0" indent="0">
              <a:buFontTx/>
              <a:buNone/>
              <a:defRPr sz="400" b="0"/>
            </a:lvl7pPr>
            <a:lvl8pPr marL="0" indent="0">
              <a:buFontTx/>
              <a:buNone/>
              <a:defRPr sz="400" b="0"/>
            </a:lvl8pPr>
            <a:lvl9pPr marL="0" indent="0">
              <a:buFontTx/>
              <a:buNone/>
              <a:defRPr sz="400" b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9988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5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arker">
            <a:extLst>
              <a:ext uri="{FF2B5EF4-FFF2-40B4-BE49-F238E27FC236}">
                <a16:creationId xmlns:a16="http://schemas.microsoft.com/office/drawing/2014/main" id="{775495E1-D371-C9AF-771C-CB574299B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-168688" y="-171204"/>
            <a:ext cx="11952688" cy="6336508"/>
            <a:chOff x="-168688" y="-171204"/>
            <a:chExt cx="11952688" cy="6336508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2B545E62-1956-1CFE-34D6-BE02F5BAF997}"/>
                </a:ext>
              </a:extLst>
            </p:cNvPr>
            <p:cNvCxnSpPr/>
            <p:nvPr userDrawn="1"/>
          </p:nvCxnSpPr>
          <p:spPr bwMode="gray">
            <a:xfrm>
              <a:off x="-168688" y="1773238"/>
              <a:ext cx="72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302A71E2-A281-FE5B-39DB-E89281966DC4}"/>
                </a:ext>
              </a:extLst>
            </p:cNvPr>
            <p:cNvCxnSpPr/>
            <p:nvPr userDrawn="1"/>
          </p:nvCxnSpPr>
          <p:spPr bwMode="gray">
            <a:xfrm>
              <a:off x="-168688" y="6165304"/>
              <a:ext cx="72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745126BF-54A9-603B-0DB4-424FF4ECE9FC}"/>
                </a:ext>
              </a:extLst>
            </p:cNvPr>
            <p:cNvCxnSpPr/>
            <p:nvPr userDrawn="1"/>
          </p:nvCxnSpPr>
          <p:spPr bwMode="gray">
            <a:xfrm>
              <a:off x="1055440" y="-171196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2B64F9F9-2C2A-442A-D424-492B5EFDDFD3}"/>
                </a:ext>
              </a:extLst>
            </p:cNvPr>
            <p:cNvCxnSpPr/>
            <p:nvPr userDrawn="1"/>
          </p:nvCxnSpPr>
          <p:spPr bwMode="gray">
            <a:xfrm>
              <a:off x="4296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2B51076C-2F2F-4598-5A2E-ABAF3F9F7B28}"/>
                </a:ext>
              </a:extLst>
            </p:cNvPr>
            <p:cNvCxnSpPr/>
            <p:nvPr userDrawn="1"/>
          </p:nvCxnSpPr>
          <p:spPr bwMode="gray">
            <a:xfrm>
              <a:off x="573596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BE1EC42A-BC6C-D44F-BB32-E3149FE66570}"/>
                </a:ext>
              </a:extLst>
            </p:cNvPr>
            <p:cNvCxnSpPr/>
            <p:nvPr userDrawn="1"/>
          </p:nvCxnSpPr>
          <p:spPr bwMode="gray">
            <a:xfrm>
              <a:off x="6168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85448082-B114-7C79-53DC-87E2AB7758D4}"/>
                </a:ext>
              </a:extLst>
            </p:cNvPr>
            <p:cNvCxnSpPr/>
            <p:nvPr userDrawn="1"/>
          </p:nvCxnSpPr>
          <p:spPr bwMode="gray">
            <a:xfrm>
              <a:off x="7608168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6CDA854-AEE6-46B7-08AF-25F7C9056EF8}"/>
                </a:ext>
              </a:extLst>
            </p:cNvPr>
            <p:cNvCxnSpPr/>
            <p:nvPr userDrawn="1"/>
          </p:nvCxnSpPr>
          <p:spPr bwMode="gray">
            <a:xfrm>
              <a:off x="8040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390F1661-663F-3FFD-EC30-1739007F14B7}"/>
                </a:ext>
              </a:extLst>
            </p:cNvPr>
            <p:cNvCxnSpPr/>
            <p:nvPr userDrawn="1"/>
          </p:nvCxnSpPr>
          <p:spPr bwMode="gray">
            <a:xfrm>
              <a:off x="11784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857F6CB-B952-7A36-7A9E-9FE87D30974C}"/>
                </a:ext>
              </a:extLst>
            </p:cNvPr>
            <p:cNvCxnSpPr/>
            <p:nvPr userDrawn="1"/>
          </p:nvCxnSpPr>
          <p:spPr bwMode="gray">
            <a:xfrm>
              <a:off x="1488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0DEE3632-1F76-CEEB-76FF-310949CC18E4}"/>
                </a:ext>
              </a:extLst>
            </p:cNvPr>
            <p:cNvCxnSpPr/>
            <p:nvPr userDrawn="1"/>
          </p:nvCxnSpPr>
          <p:spPr bwMode="gray">
            <a:xfrm>
              <a:off x="1991544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FE658AA6-8576-A1E7-765C-BEB4AE4416DC}"/>
                </a:ext>
              </a:extLst>
            </p:cNvPr>
            <p:cNvCxnSpPr/>
            <p:nvPr userDrawn="1"/>
          </p:nvCxnSpPr>
          <p:spPr bwMode="gray">
            <a:xfrm>
              <a:off x="2424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2D173416-92EB-BD8F-38A8-964491D778A2}"/>
                </a:ext>
              </a:extLst>
            </p:cNvPr>
            <p:cNvCxnSpPr/>
            <p:nvPr userDrawn="1"/>
          </p:nvCxnSpPr>
          <p:spPr bwMode="gray">
            <a:xfrm>
              <a:off x="2927648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67398502-6F48-6D3C-AEE9-00B0EE22FF7E}"/>
                </a:ext>
              </a:extLst>
            </p:cNvPr>
            <p:cNvCxnSpPr/>
            <p:nvPr userDrawn="1"/>
          </p:nvCxnSpPr>
          <p:spPr bwMode="gray">
            <a:xfrm>
              <a:off x="3360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656E637-31FF-9AE8-0D58-893DA48BAB05}"/>
                </a:ext>
              </a:extLst>
            </p:cNvPr>
            <p:cNvCxnSpPr/>
            <p:nvPr userDrawn="1"/>
          </p:nvCxnSpPr>
          <p:spPr bwMode="gray">
            <a:xfrm>
              <a:off x="3863752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8E0E138B-95FB-1526-8679-2B1ECE742C77}"/>
                </a:ext>
              </a:extLst>
            </p:cNvPr>
            <p:cNvCxnSpPr/>
            <p:nvPr userDrawn="1"/>
          </p:nvCxnSpPr>
          <p:spPr bwMode="gray">
            <a:xfrm>
              <a:off x="4799856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EEEEC200-0517-46B9-2C48-39081961BAA2}"/>
                </a:ext>
              </a:extLst>
            </p:cNvPr>
            <p:cNvCxnSpPr/>
            <p:nvPr userDrawn="1"/>
          </p:nvCxnSpPr>
          <p:spPr bwMode="gray">
            <a:xfrm>
              <a:off x="5232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AFAAA6F-2C43-786E-3D14-014D6D61AC93}"/>
                </a:ext>
              </a:extLst>
            </p:cNvPr>
            <p:cNvCxnSpPr/>
            <p:nvPr userDrawn="1"/>
          </p:nvCxnSpPr>
          <p:spPr bwMode="gray">
            <a:xfrm>
              <a:off x="6672064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CC86F425-89F0-F07F-2A8E-AC99218CCAFE}"/>
                </a:ext>
              </a:extLst>
            </p:cNvPr>
            <p:cNvCxnSpPr/>
            <p:nvPr userDrawn="1"/>
          </p:nvCxnSpPr>
          <p:spPr bwMode="gray">
            <a:xfrm>
              <a:off x="7104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C7C9222-80E4-8020-1BA7-C65EFEDE4ABA}"/>
                </a:ext>
              </a:extLst>
            </p:cNvPr>
            <p:cNvCxnSpPr/>
            <p:nvPr userDrawn="1"/>
          </p:nvCxnSpPr>
          <p:spPr bwMode="gray">
            <a:xfrm>
              <a:off x="8544272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974DCB56-55B8-B618-E748-DA7A39CC7380}"/>
                </a:ext>
              </a:extLst>
            </p:cNvPr>
            <p:cNvCxnSpPr/>
            <p:nvPr userDrawn="1"/>
          </p:nvCxnSpPr>
          <p:spPr bwMode="gray">
            <a:xfrm>
              <a:off x="8976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79D4BA4-42B9-85FF-BDEF-D8E77C93CE52}"/>
                </a:ext>
              </a:extLst>
            </p:cNvPr>
            <p:cNvCxnSpPr/>
            <p:nvPr userDrawn="1"/>
          </p:nvCxnSpPr>
          <p:spPr bwMode="gray">
            <a:xfrm>
              <a:off x="9480376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5C35BC15-C1B3-781E-DF3B-DE11E1D4F12B}"/>
                </a:ext>
              </a:extLst>
            </p:cNvPr>
            <p:cNvCxnSpPr/>
            <p:nvPr userDrawn="1"/>
          </p:nvCxnSpPr>
          <p:spPr bwMode="gray">
            <a:xfrm>
              <a:off x="9912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A80C8B68-B927-709D-CA4E-5D83BC98BB91}"/>
                </a:ext>
              </a:extLst>
            </p:cNvPr>
            <p:cNvCxnSpPr/>
            <p:nvPr userDrawn="1"/>
          </p:nvCxnSpPr>
          <p:spPr bwMode="gray">
            <a:xfrm>
              <a:off x="1041648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6CC227A-F5AB-26FF-6CCA-A0B65ADACCD6}"/>
                </a:ext>
              </a:extLst>
            </p:cNvPr>
            <p:cNvCxnSpPr/>
            <p:nvPr userDrawn="1"/>
          </p:nvCxnSpPr>
          <p:spPr bwMode="gray">
            <a:xfrm>
              <a:off x="10848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EE616545-CB17-B1AF-7AA2-9DBFCC41A6CE}"/>
                </a:ext>
              </a:extLst>
            </p:cNvPr>
            <p:cNvCxnSpPr/>
            <p:nvPr userDrawn="1"/>
          </p:nvCxnSpPr>
          <p:spPr bwMode="gray">
            <a:xfrm>
              <a:off x="11352000" y="-171204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CD2C0AD7-C7BF-CAE8-A76F-881D37B3AA46}"/>
                </a:ext>
              </a:extLst>
            </p:cNvPr>
            <p:cNvSpPr/>
            <p:nvPr userDrawn="1"/>
          </p:nvSpPr>
          <p:spPr bwMode="gray">
            <a:xfrm>
              <a:off x="1056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0578252-C6A2-3417-5335-A1FBAC578531}"/>
                </a:ext>
              </a:extLst>
            </p:cNvPr>
            <p:cNvSpPr/>
            <p:nvPr userDrawn="1"/>
          </p:nvSpPr>
          <p:spPr bwMode="gray">
            <a:xfrm>
              <a:off x="1992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1A1AB86-3E2D-D38D-75D1-656630B071FC}"/>
                </a:ext>
              </a:extLst>
            </p:cNvPr>
            <p:cNvSpPr/>
            <p:nvPr userDrawn="1"/>
          </p:nvSpPr>
          <p:spPr bwMode="gray">
            <a:xfrm>
              <a:off x="2928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E9A4216-4E16-3758-381B-243F8B588499}"/>
                </a:ext>
              </a:extLst>
            </p:cNvPr>
            <p:cNvSpPr/>
            <p:nvPr userDrawn="1"/>
          </p:nvSpPr>
          <p:spPr bwMode="gray">
            <a:xfrm>
              <a:off x="3864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DBB4689-932C-CA84-C8A7-3AF10AB035CC}"/>
                </a:ext>
              </a:extLst>
            </p:cNvPr>
            <p:cNvSpPr/>
            <p:nvPr userDrawn="1"/>
          </p:nvSpPr>
          <p:spPr bwMode="gray">
            <a:xfrm>
              <a:off x="4800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4EDCF114-6962-A34F-B776-560470DEF67A}"/>
                </a:ext>
              </a:extLst>
            </p:cNvPr>
            <p:cNvSpPr/>
            <p:nvPr userDrawn="1"/>
          </p:nvSpPr>
          <p:spPr bwMode="gray">
            <a:xfrm>
              <a:off x="5736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7DAE8B1B-34C0-FB58-9F59-CD9381786AB6}"/>
                </a:ext>
              </a:extLst>
            </p:cNvPr>
            <p:cNvSpPr/>
            <p:nvPr userDrawn="1"/>
          </p:nvSpPr>
          <p:spPr bwMode="gray">
            <a:xfrm>
              <a:off x="6672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4500D3C-F480-AB64-3F35-612FC2D27E40}"/>
                </a:ext>
              </a:extLst>
            </p:cNvPr>
            <p:cNvSpPr/>
            <p:nvPr userDrawn="1"/>
          </p:nvSpPr>
          <p:spPr bwMode="gray">
            <a:xfrm>
              <a:off x="7608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E3A66FC4-A4E6-A2E0-1589-AD63D6C3ACA0}"/>
                </a:ext>
              </a:extLst>
            </p:cNvPr>
            <p:cNvSpPr/>
            <p:nvPr userDrawn="1"/>
          </p:nvSpPr>
          <p:spPr bwMode="gray">
            <a:xfrm>
              <a:off x="8544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9D0F292E-7765-0C3D-05DD-F56BBD721DFE}"/>
                </a:ext>
              </a:extLst>
            </p:cNvPr>
            <p:cNvSpPr/>
            <p:nvPr userDrawn="1"/>
          </p:nvSpPr>
          <p:spPr bwMode="gray">
            <a:xfrm>
              <a:off x="9480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3C44EA29-1CED-44F3-8D5C-8D10B2EFA454}"/>
                </a:ext>
              </a:extLst>
            </p:cNvPr>
            <p:cNvSpPr/>
            <p:nvPr userDrawn="1"/>
          </p:nvSpPr>
          <p:spPr bwMode="gray">
            <a:xfrm>
              <a:off x="10416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A062149-64F7-C0BC-9EF5-F040E8478051}"/>
                </a:ext>
              </a:extLst>
            </p:cNvPr>
            <p:cNvSpPr/>
            <p:nvPr userDrawn="1"/>
          </p:nvSpPr>
          <p:spPr bwMode="gray">
            <a:xfrm>
              <a:off x="11352000" y="-171000"/>
              <a:ext cx="432000" cy="72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indent="0" algn="ctr">
                <a:buNone/>
              </a:pPr>
              <a:r>
                <a:rPr lang="en-GB" sz="800">
                  <a:solidFill>
                    <a:schemeClr val="accent3"/>
                  </a:solidFill>
                </a:rPr>
                <a:t>1,2 cm</a:t>
              </a:r>
            </a:p>
          </p:txBody>
        </p:sp>
      </p:grp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5955A8-1D7E-8F99-DA1F-1A333B86F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196988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06" imgH="306" progId="TCLayout.ActiveDocument.1">
                  <p:embed/>
                </p:oleObj>
              </mc:Choice>
              <mc:Fallback>
                <p:oleObj name="think-cell Folie" r:id="rId38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955A8-1D7E-8F99-DA1F-1A333B86F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42F7C704-568E-9258-6507-771D1CBCA90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107280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Add Slide Titl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925AB6-2AC2-A545-61BB-3D2C55D53F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687" y="6453000"/>
            <a:ext cx="4968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9pPr>
          </a:lstStyle>
          <a:p>
            <a:r>
              <a:rPr lang="en-GB"/>
              <a:t>Title of the presentation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570DD1DA-905E-8295-8AD4-DEDBD0DCA27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492124" y="645300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9pPr>
          </a:lstStyle>
          <a:p>
            <a:fld id="{BE8EF8C3-22E2-437E-B9D3-BA5071D4D14C}" type="datetime1">
              <a:rPr lang="en-GB" smtClean="0"/>
              <a:t>18/11/2025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93598C3B-3995-3E01-D555-DCBE2E69A493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 bwMode="gray">
          <a:xfrm>
            <a:off x="11323295" y="6414338"/>
            <a:ext cx="532705" cy="210187"/>
          </a:xfrm>
          <a:prstGeom prst="rect">
            <a:avLst/>
          </a:prstGeom>
        </p:spPr>
      </p:pic>
      <p:pic>
        <p:nvPicPr>
          <p:cNvPr id="12" name="Pill">
            <a:extLst>
              <a:ext uri="{FF2B5EF4-FFF2-40B4-BE49-F238E27FC236}">
                <a16:creationId xmlns:a16="http://schemas.microsoft.com/office/drawing/2014/main" id="{E509A8B5-7344-9FB9-348F-0CFE4DF84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3" name="Pill_small">
            <a:extLst>
              <a:ext uri="{FF2B5EF4-FFF2-40B4-BE49-F238E27FC236}">
                <a16:creationId xmlns:a16="http://schemas.microsoft.com/office/drawing/2014/main" id="{6CB99083-7A1F-1E8F-BB3B-52EEF2B82B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gray">
          <a:xfrm>
            <a:off x="6154406" y="6475629"/>
            <a:ext cx="216000" cy="98743"/>
          </a:xfrm>
          <a:prstGeom prst="rect">
            <a:avLst/>
          </a:prstGeom>
        </p:spPr>
      </p:pic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B12BF23E-B765-D752-12DC-FDFBF09641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8000" y="6453000"/>
            <a:ext cx="50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9pPr>
          </a:lstStyle>
          <a:p>
            <a:fld id="{F2D4CAB8-B091-4116-BA82-0A812210E0F9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250D2256-DEC5-4569-6453-E08666E9B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999" y="1772999"/>
            <a:ext cx="10728013" cy="4391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text by clicking on it. Use the "Increase/decrease list level" buttons on the Start tab to switch between the text levels set up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88174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60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Fira Sans" panose="020B0503050000020004" pitchFamily="34" charset="0"/>
        <a:buChar char="&gt;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Fira Sans" panose="020B05030500000200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Font typeface="Symbol" panose="05050102010706020507" pitchFamily="18" charset="2"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Tx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" indent="-144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Fira Sans" panose="020B0503050000020004" pitchFamily="34" charset="0"/>
        <a:buChar char="&gt;"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" indent="-144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Fira Sans" panose="020B0503050000020004" pitchFamily="34" charset="0"/>
        <a:buChar char="&gt;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Symbol" panose="05050102010706020507" pitchFamily="18" charset="2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6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svg"/><Relationship Id="rId7" Type="http://schemas.openxmlformats.org/officeDocument/2006/relationships/image" Target="../media/image3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microsoft.com/office/2007/relationships/hdphoto" Target="../media/hdphoto1.wdp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jpg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svg"/><Relationship Id="rId7" Type="http://schemas.openxmlformats.org/officeDocument/2006/relationships/image" Target="../media/image3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4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5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884F54-D742-EC96-0FA2-0D70DA656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kehr als </a:t>
            </a:r>
            <a:br>
              <a:rPr lang="de-DE" dirty="0"/>
            </a:br>
            <a:r>
              <a:rPr lang="de-DE" dirty="0"/>
              <a:t>Cyberphysisches System 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BFBC5F3-AD8B-1F4D-8EC3-61463F47C1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ordnung des Themas Mobility bei adesso Resear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6A50E7-C3C8-584F-87EF-8B7C205BA6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3AC1AE-89BC-6EB9-9E8E-11FF6C757F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594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BC470-D900-ED79-80A7-C7EE65786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E05C779C-AE42-DB8D-6D1B-1A2648A402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53"/>
            <a:ext cx="12192001" cy="687223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AC726B7A-4034-2273-71CF-B92464F8E2AC}"/>
              </a:ext>
            </a:extLst>
          </p:cNvPr>
          <p:cNvSpPr/>
          <p:nvPr/>
        </p:nvSpPr>
        <p:spPr>
          <a:xfrm>
            <a:off x="-1" y="53"/>
            <a:ext cx="12192001" cy="6872231"/>
          </a:xfrm>
          <a:prstGeom prst="rect">
            <a:avLst/>
          </a:prstGeom>
          <a:gradFill>
            <a:gsLst>
              <a:gs pos="0">
                <a:schemeClr val="accent1">
                  <a:alpha val="49000"/>
                </a:schemeClr>
              </a:gs>
              <a:gs pos="86000">
                <a:schemeClr val="accent1">
                  <a:alpha val="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82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0C9AC42-40BB-2555-929D-7C48D3E286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1018648"/>
            <a:ext cx="12192000" cy="583935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C66DE8B-488B-F2A5-FF79-0509C1A4CE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C9FF606-9E98-3785-DF45-EDE942912B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5681E4E2-67D4-00C2-707F-23202AB7B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E85BFE4-43A9-94CA-9CAD-9797120AD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00252-63E7-4240-86F3-6BA42DE0C288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7D3D4B-F80F-3347-0E34-C638B3712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0" y="1733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0" imgH="481" progId="TCLayout.ActiveDocument.1">
                  <p:embed/>
                </p:oleObj>
              </mc:Choice>
              <mc:Fallback>
                <p:oleObj name="think-cell Folie" r:id="rId5" imgW="480" imgH="4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7D3D4B-F80F-3347-0E34-C638B3712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733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9889189-6B23-3E61-FA5A-5A4457DDBB29}"/>
              </a:ext>
            </a:extLst>
          </p:cNvPr>
          <p:cNvSpPr/>
          <p:nvPr/>
        </p:nvSpPr>
        <p:spPr>
          <a:xfrm>
            <a:off x="4172000" y="3074754"/>
            <a:ext cx="3573407" cy="1429966"/>
          </a:xfrm>
          <a:prstGeom prst="roundRect">
            <a:avLst>
              <a:gd name="adj" fmla="val 50000"/>
            </a:avLst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998" cap="flat">
            <a:noFill/>
            <a:prstDash val="solid"/>
            <a:miter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2800" b="1" dirty="0">
                <a:solidFill>
                  <a:schemeClr val="bg1"/>
                </a:solidFill>
              </a:rPr>
              <a:t>Anforderungen </a:t>
            </a:r>
          </a:p>
          <a:p>
            <a:pPr algn="ctr"/>
            <a:r>
              <a:rPr lang="de-DE" sz="2800" b="1" dirty="0">
                <a:solidFill>
                  <a:schemeClr val="bg1"/>
                </a:solidFill>
              </a:rPr>
              <a:t>von Mensch und Mitwel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D0914E0-895A-49CF-8AAB-9C9E09CCA4F2}"/>
              </a:ext>
            </a:extLst>
          </p:cNvPr>
          <p:cNvSpPr txBox="1"/>
          <p:nvPr/>
        </p:nvSpPr>
        <p:spPr>
          <a:xfrm>
            <a:off x="2832653" y="2623930"/>
            <a:ext cx="37029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K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58E9688-0503-8A2A-5B9A-E9896F866597}"/>
              </a:ext>
            </a:extLst>
          </p:cNvPr>
          <p:cNvSpPr txBox="1"/>
          <p:nvPr/>
        </p:nvSpPr>
        <p:spPr>
          <a:xfrm>
            <a:off x="5396048" y="2424477"/>
            <a:ext cx="562655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Io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0FE1A9E-4E67-FE45-8608-68265395F28C}"/>
              </a:ext>
            </a:extLst>
          </p:cNvPr>
          <p:cNvSpPr txBox="1"/>
          <p:nvPr/>
        </p:nvSpPr>
        <p:spPr>
          <a:xfrm>
            <a:off x="1310602" y="1783587"/>
            <a:ext cx="378469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Quantenoptimier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849C943-6E8E-2E9F-5695-66B3CF96618A}"/>
              </a:ext>
            </a:extLst>
          </p:cNvPr>
          <p:cNvSpPr txBox="1"/>
          <p:nvPr/>
        </p:nvSpPr>
        <p:spPr>
          <a:xfrm>
            <a:off x="6078273" y="5013634"/>
            <a:ext cx="440345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Quantenkommunikatio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AA503EA-FDF9-C232-7E24-3777F4165B0B}"/>
              </a:ext>
            </a:extLst>
          </p:cNvPr>
          <p:cNvSpPr txBox="1"/>
          <p:nvPr/>
        </p:nvSpPr>
        <p:spPr>
          <a:xfrm>
            <a:off x="6031970" y="1804254"/>
            <a:ext cx="302166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B0AE544-09FB-95D5-2F72-DE13EDF9C00C}"/>
              </a:ext>
            </a:extLst>
          </p:cNvPr>
          <p:cNvSpPr txBox="1"/>
          <p:nvPr/>
        </p:nvSpPr>
        <p:spPr>
          <a:xfrm>
            <a:off x="991557" y="3157221"/>
            <a:ext cx="1434688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Robotik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616CB62-1979-8CAB-26D0-07FD70F9F680}"/>
              </a:ext>
            </a:extLst>
          </p:cNvPr>
          <p:cNvSpPr txBox="1"/>
          <p:nvPr/>
        </p:nvSpPr>
        <p:spPr>
          <a:xfrm>
            <a:off x="9491162" y="3074754"/>
            <a:ext cx="2237792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Datenräum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596D011-7B88-663D-7470-E1CD8A4D439E}"/>
              </a:ext>
            </a:extLst>
          </p:cNvPr>
          <p:cNvSpPr txBox="1"/>
          <p:nvPr/>
        </p:nvSpPr>
        <p:spPr>
          <a:xfrm>
            <a:off x="8342540" y="4012284"/>
            <a:ext cx="339676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utonomes Fah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1E38844-B14C-E189-AFB7-3A8C6338405B}"/>
              </a:ext>
            </a:extLst>
          </p:cNvPr>
          <p:cNvSpPr txBox="1"/>
          <p:nvPr/>
        </p:nvSpPr>
        <p:spPr>
          <a:xfrm>
            <a:off x="578055" y="4643576"/>
            <a:ext cx="477214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Softwar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efin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Vehicle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FD9B34F-7698-9807-CEA3-56AC4A5BB990}"/>
              </a:ext>
            </a:extLst>
          </p:cNvPr>
          <p:cNvSpPr txBox="1"/>
          <p:nvPr/>
        </p:nvSpPr>
        <p:spPr>
          <a:xfrm>
            <a:off x="1375143" y="5702076"/>
            <a:ext cx="380552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Intermodale Planung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CE295D5-287B-E02B-6A13-2C013E3AD463}"/>
              </a:ext>
            </a:extLst>
          </p:cNvPr>
          <p:cNvSpPr txBox="1"/>
          <p:nvPr/>
        </p:nvSpPr>
        <p:spPr>
          <a:xfrm>
            <a:off x="7673569" y="2556930"/>
            <a:ext cx="2290692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Vehicle2Grid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15A5D8D-B64E-7CF7-808B-CC4440812F41}"/>
              </a:ext>
            </a:extLst>
          </p:cNvPr>
          <p:cNvSpPr txBox="1"/>
          <p:nvPr/>
        </p:nvSpPr>
        <p:spPr>
          <a:xfrm>
            <a:off x="9383974" y="5734836"/>
            <a:ext cx="116057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R/VR</a:t>
            </a:r>
          </a:p>
        </p:txBody>
      </p:sp>
      <p:sp>
        <p:nvSpPr>
          <p:cNvPr id="22" name="Titel 13">
            <a:extLst>
              <a:ext uri="{FF2B5EF4-FFF2-40B4-BE49-F238E27FC236}">
                <a16:creationId xmlns:a16="http://schemas.microsoft.com/office/drawing/2014/main" id="{F31B67F5-BD4B-8425-9EC8-F16C644FC268}"/>
              </a:ext>
            </a:extLst>
          </p:cNvPr>
          <p:cNvSpPr txBox="1">
            <a:spLocks/>
          </p:cNvSpPr>
          <p:nvPr/>
        </p:nvSpPr>
        <p:spPr>
          <a:xfrm>
            <a:off x="1055687" y="512676"/>
            <a:ext cx="10728000" cy="5440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  <a:buClrTx/>
            </a:pPr>
            <a:r>
              <a:rPr lang="en-GB" dirty="0" err="1">
                <a:solidFill>
                  <a:schemeClr val="bg1"/>
                </a:solidFill>
              </a:rPr>
              <a:t>Gesamten</a:t>
            </a:r>
            <a:r>
              <a:rPr lang="en-GB" dirty="0">
                <a:solidFill>
                  <a:schemeClr val="bg1"/>
                </a:solidFill>
              </a:rPr>
              <a:t> Verkehr </a:t>
            </a:r>
            <a:r>
              <a:rPr lang="en-GB" dirty="0" err="1">
                <a:solidFill>
                  <a:schemeClr val="bg1"/>
                </a:solidFill>
              </a:rPr>
              <a:t>als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Cyberphysisches</a:t>
            </a:r>
            <a:r>
              <a:rPr lang="en-GB" dirty="0">
                <a:solidFill>
                  <a:schemeClr val="bg1"/>
                </a:solidFill>
              </a:rPr>
              <a:t> System 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3677846-6E2A-3CFD-E644-E5D47933DC78}"/>
              </a:ext>
            </a:extLst>
          </p:cNvPr>
          <p:cNvSpPr txBox="1"/>
          <p:nvPr/>
        </p:nvSpPr>
        <p:spPr>
          <a:xfrm>
            <a:off x="1055686" y="1042329"/>
            <a:ext cx="10225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de-DE" sz="2400" b="1" dirty="0">
                <a:solidFill>
                  <a:schemeClr val="accent2"/>
                </a:solidFill>
                <a:cs typeface="Segoe UI"/>
              </a:rPr>
              <a:t>Bestehende Technologien und Methoden zu neuen Lösungen umdenken</a:t>
            </a:r>
          </a:p>
        </p:txBody>
      </p:sp>
    </p:spTree>
    <p:extLst>
      <p:ext uri="{BB962C8B-B14F-4D97-AF65-F5344CB8AC3E}">
        <p14:creationId xmlns:p14="http://schemas.microsoft.com/office/powerpoint/2010/main" val="234482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89C7AF-C00E-E018-9365-D7576F6DC1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Logo">
            <a:extLst>
              <a:ext uri="{FF2B5EF4-FFF2-40B4-BE49-F238E27FC236}">
                <a16:creationId xmlns:a16="http://schemas.microsoft.com/office/drawing/2014/main" id="{8197A6F4-4F9A-1682-243E-327FF9D33B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AD79B487-B922-54BD-2133-F96D3A9766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7" name="Pill">
            <a:extLst>
              <a:ext uri="{FF2B5EF4-FFF2-40B4-BE49-F238E27FC236}">
                <a16:creationId xmlns:a16="http://schemas.microsoft.com/office/drawing/2014/main" id="{C382244B-4C5C-F2C3-687F-C02D6292B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65A369A-E9A1-86BF-34F0-7497AA1D916E}"/>
              </a:ext>
            </a:extLst>
          </p:cNvPr>
          <p:cNvSpPr txBox="1">
            <a:spLocks/>
          </p:cNvSpPr>
          <p:nvPr/>
        </p:nvSpPr>
        <p:spPr bwMode="gray">
          <a:xfrm>
            <a:off x="1056001" y="1794014"/>
            <a:ext cx="10080312" cy="43709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5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400" b="0" dirty="0"/>
              <a:t>Wenn wir uns unsere technologischen Ressourcen und den Anforderungen von Mensch und Umwelt bewusst machen, dann sollten wir uns fragen: </a:t>
            </a:r>
            <a:r>
              <a:rPr lang="de-DE" sz="4400" dirty="0"/>
              <a:t>Was ist das beste, was wir damit bauen können – </a:t>
            </a:r>
          </a:p>
          <a:p>
            <a:r>
              <a:rPr lang="de-DE" sz="4400" dirty="0"/>
              <a:t>und tun wir das gerade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ABAA2A-7EBE-000E-FE4E-36B336639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11</a:t>
            </a:fld>
            <a:endParaRPr lang="en-GB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9BDCDF9-8114-FE48-4E10-0AA7AFB4A4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gray">
          <a:xfrm>
            <a:off x="347755" y="1900251"/>
            <a:ext cx="840489" cy="792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0649109-F659-C5A3-1BB4-8A1A9D1A592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39892"/>
          <a:stretch>
            <a:fillRect/>
          </a:stretch>
        </p:blipFill>
        <p:spPr>
          <a:xfrm>
            <a:off x="3884831" y="261000"/>
            <a:ext cx="3589397" cy="146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4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67B4C-6162-5D24-BF99-ED207353B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F1A666-BA44-5411-D1FA-8C8E469C5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 Lichtblick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82C47DD-1B74-BDA6-F86E-8F2CE15FA18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rste Schritte in diese Richtung bei adesso Resear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DAB156C-1639-4A00-438F-3CED95C353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251DD74-9903-5B1C-DC4F-F590A92336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115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B0DB0FD-7F93-EB78-AC54-C6ACADFC7E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1A26B65-FA51-6532-F8A2-445E73AD6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7308" y="261000"/>
            <a:ext cx="9892180" cy="1215883"/>
          </a:xfrm>
        </p:spPr>
        <p:txBody>
          <a:bodyPr anchor="t"/>
          <a:lstStyle/>
          <a:p>
            <a:r>
              <a:rPr lang="de-DE" dirty="0"/>
              <a:t>ÖPNV als Schlüsselakteur der Verkehrswende</a:t>
            </a:r>
            <a:endParaRPr lang="de-DE" sz="4000" b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598F354-020B-6525-D6C6-4687445D4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54132" y="1604528"/>
            <a:ext cx="10003735" cy="2679237"/>
          </a:xfrm>
        </p:spPr>
        <p:txBody>
          <a:bodyPr/>
          <a:lstStyle/>
          <a:p>
            <a:pPr marL="673200" lvl="1" indent="-216000" defTabSz="913941">
              <a:spcAft>
                <a:spcPts val="600"/>
              </a:spcAft>
              <a:buClr>
                <a:srgbClr val="006EC7"/>
              </a:buClr>
              <a:buSzPct val="7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de-DE" sz="1800" dirty="0"/>
              <a:t>ÖPNV ist derzeit der einzige System-Akteur, der situativ-optimierte Mobilität entwickelt: zu jeder Zeit an jedem Ort das optimale Mobilitäts- (Transport-)</a:t>
            </a:r>
            <a:r>
              <a:rPr lang="de-DE" sz="1800" dirty="0" err="1"/>
              <a:t>angebot</a:t>
            </a:r>
            <a:r>
              <a:rPr lang="de-DE" sz="1800" dirty="0"/>
              <a:t> </a:t>
            </a:r>
          </a:p>
          <a:p>
            <a:pPr marL="673200" lvl="1" indent="-216000" defTabSz="913941">
              <a:spcAft>
                <a:spcPts val="600"/>
              </a:spcAft>
              <a:buClr>
                <a:srgbClr val="006EC7"/>
              </a:buClr>
              <a:buSzPct val="7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de-DE" sz="1800" dirty="0"/>
              <a:t>Momentan wird der ÖPNV immer mehr zur Plattform: Selbstbetriebenes wie Busse und Bahnen, Planung und Payment mit Sharing-Angeboten oder PKW (P&amp;R) bis zu Inkludierung neuer Prinzipien wie Sammeltaxen/ On Demand-Verkehren</a:t>
            </a:r>
          </a:p>
          <a:p>
            <a:pPr marL="673200" lvl="1" indent="-216000" defTabSz="913941">
              <a:spcAft>
                <a:spcPts val="600"/>
              </a:spcAft>
              <a:buClr>
                <a:srgbClr val="006EC7"/>
              </a:buClr>
              <a:buSzPct val="7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de-DE" sz="1800" b="1" dirty="0"/>
              <a:t>transportiert Massen, wird aber zunehmend individueller</a:t>
            </a:r>
          </a:p>
          <a:p>
            <a:pPr lvl="1" defTabSz="913941">
              <a:spcAft>
                <a:spcPts val="300"/>
              </a:spcAft>
              <a:buClr>
                <a:srgbClr val="006EC7"/>
              </a:buClr>
              <a:buSzPct val="70000"/>
            </a:pPr>
            <a:endParaRPr lang="de-DE" sz="16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FB13C2-DC68-3B63-A971-FD08C87676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7E72A00-1AF4-D781-2922-A7F0BD3A90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DD8493A-5F92-5585-080D-DBE4A7CA6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erkehr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Cyberphysisches</a:t>
            </a:r>
            <a:r>
              <a:rPr lang="en-GB" dirty="0"/>
              <a:t> System – Smart System Conference 2025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57AD326-6407-E15B-F5AC-E9EFA56CC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4" name="Grafik 3" descr="Rakete Silhouette">
            <a:extLst>
              <a:ext uri="{FF2B5EF4-FFF2-40B4-BE49-F238E27FC236}">
                <a16:creationId xmlns:a16="http://schemas.microsoft.com/office/drawing/2014/main" id="{0D7FFE81-0554-4297-97E3-A32A9B3A87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3887" y="344828"/>
            <a:ext cx="1048225" cy="10482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D6DD36-D3DC-88E7-B840-C272407A1927}"/>
              </a:ext>
            </a:extLst>
          </p:cNvPr>
          <p:cNvSpPr txBox="1">
            <a:spLocks/>
          </p:cNvSpPr>
          <p:nvPr/>
        </p:nvSpPr>
        <p:spPr>
          <a:xfrm>
            <a:off x="6406748" y="4229525"/>
            <a:ext cx="4201538" cy="36376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Das Ziel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de-DE" sz="2000" dirty="0">
                <a:solidFill>
                  <a:schemeClr val="bg1"/>
                </a:solidFill>
              </a:rPr>
              <a:t>ist</a:t>
            </a:r>
            <a:r>
              <a:rPr lang="en-US" sz="2000" dirty="0">
                <a:solidFill>
                  <a:schemeClr val="bg1"/>
                </a:solidFill>
              </a:rPr>
              <a:t> es</a:t>
            </a:r>
            <a:r>
              <a:rPr lang="de-DE" sz="2000" dirty="0">
                <a:solidFill>
                  <a:schemeClr val="bg1"/>
                </a:solidFill>
              </a:rPr>
              <a:t> eine vollständig barrierefreie, nachhaltige und effiziente Mobilität zu fördern.</a:t>
            </a:r>
          </a:p>
          <a:p>
            <a:pPr lvl="1"/>
            <a:endParaRPr lang="de-DE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D5555C9-5B41-7B56-D59D-FD3AA2BF30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67122" y="4080396"/>
            <a:ext cx="577753" cy="40673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95FA363-7B3C-0356-771D-35F1BF4C40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1472" b="41523" l="37393" r="65094">
                        <a14:foregroundMark x1="50515" y1="11472" x2="50515" y2="11472"/>
                      </a14:backgroundRemoval>
                    </a14:imgEffect>
                  </a14:imgLayer>
                </a14:imgProps>
              </a:ext>
            </a:extLst>
          </a:blip>
          <a:srcRect l="33982" t="8333" r="31432" b="54710"/>
          <a:stretch>
            <a:fillRect/>
          </a:stretch>
        </p:blipFill>
        <p:spPr>
          <a:xfrm>
            <a:off x="1972132" y="3949108"/>
            <a:ext cx="1899495" cy="1714588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14154BD-620D-F23F-EB16-7DC3DE335E99}"/>
              </a:ext>
            </a:extLst>
          </p:cNvPr>
          <p:cNvSpPr txBox="1">
            <a:spLocks/>
          </p:cNvSpPr>
          <p:nvPr/>
        </p:nvSpPr>
        <p:spPr bwMode="gray">
          <a:xfrm>
            <a:off x="1777634" y="3618094"/>
            <a:ext cx="2211919" cy="40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defTabSz="913941">
              <a:lnSpc>
                <a:spcPct val="150000"/>
              </a:lnSpc>
              <a:spcAft>
                <a:spcPts val="300"/>
              </a:spcAft>
              <a:buClr>
                <a:srgbClr val="006EC7"/>
              </a:buClr>
              <a:buSzPct val="70000"/>
            </a:pPr>
            <a:r>
              <a:rPr lang="de-DE" sz="1800" b="1" dirty="0"/>
              <a:t>Sefa Tasdemir</a:t>
            </a:r>
          </a:p>
          <a:p>
            <a:pPr lvl="1" defTabSz="913941">
              <a:spcAft>
                <a:spcPts val="300"/>
              </a:spcAft>
              <a:buClr>
                <a:srgbClr val="006EC7"/>
              </a:buClr>
              <a:buSzPct val="70000"/>
            </a:pPr>
            <a:endParaRPr lang="de-DE" sz="160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8340EED-3E51-5E23-7922-EE624BF82FA2}"/>
              </a:ext>
            </a:extLst>
          </p:cNvPr>
          <p:cNvSpPr txBox="1">
            <a:spLocks/>
          </p:cNvSpPr>
          <p:nvPr/>
        </p:nvSpPr>
        <p:spPr bwMode="gray">
          <a:xfrm>
            <a:off x="1292112" y="5583960"/>
            <a:ext cx="2798658" cy="40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Fira Sans" panose="020B0503050000020004" pitchFamily="34" charset="0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4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algn="ctr" defTabSz="913941">
              <a:spcAft>
                <a:spcPts val="300"/>
              </a:spcAft>
              <a:buClr>
                <a:srgbClr val="006EC7"/>
              </a:buClr>
              <a:buSzPct val="70000"/>
            </a:pPr>
            <a:r>
              <a:rPr lang="de-DE" sz="1800" dirty="0"/>
              <a:t>Vorstandsvorsitzender von Delfi</a:t>
            </a:r>
          </a:p>
          <a:p>
            <a:pPr lvl="1" algn="ctr" defTabSz="913941">
              <a:spcAft>
                <a:spcPts val="300"/>
              </a:spcAft>
              <a:buClr>
                <a:srgbClr val="006EC7"/>
              </a:buClr>
              <a:buSzPct val="70000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96670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D2E06BB-CCDD-4BEB-A35C-F125D290B71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10728000" cy="1080000"/>
          </a:xfrm>
        </p:spPr>
        <p:txBody>
          <a:bodyPr/>
          <a:lstStyle/>
          <a:p>
            <a:r>
              <a:rPr lang="en-GB" dirty="0" err="1"/>
              <a:t>SyntheSIS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ispiel</a:t>
            </a:r>
            <a:r>
              <a:rPr lang="en-GB" dirty="0"/>
              <a:t> für “advanced Co-Creation”</a:t>
            </a:r>
            <a:endParaRPr lang="en-GB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32236D8-5F5E-2291-03B9-DB9365919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7999" y="6435738"/>
            <a:ext cx="381213" cy="161262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14</a:t>
            </a:fld>
            <a:endParaRPr lang="en-GB" noProof="0"/>
          </a:p>
        </p:txBody>
      </p:sp>
      <p:sp>
        <p:nvSpPr>
          <p:cNvPr id="2095" name="Inhaltsplatzhalter 2">
            <a:extLst>
              <a:ext uri="{FF2B5EF4-FFF2-40B4-BE49-F238E27FC236}">
                <a16:creationId xmlns:a16="http://schemas.microsoft.com/office/drawing/2014/main" id="{0E0C9C53-CD8E-F288-9CA2-2A205232A0D1}"/>
              </a:ext>
            </a:extLst>
          </p:cNvPr>
          <p:cNvSpPr txBox="1">
            <a:spLocks/>
          </p:cNvSpPr>
          <p:nvPr/>
        </p:nvSpPr>
        <p:spPr bwMode="gray">
          <a:xfrm>
            <a:off x="1055687" y="1432290"/>
            <a:ext cx="10208426" cy="389227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3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b="0" dirty="0">
                <a:solidFill>
                  <a:schemeClr val="tx2"/>
                </a:solidFill>
              </a:rPr>
              <a:t>Das Forschungsprojekt </a:t>
            </a:r>
            <a:r>
              <a:rPr lang="de-DE" sz="3200" b="0" dirty="0" err="1">
                <a:solidFill>
                  <a:schemeClr val="tx2"/>
                </a:solidFill>
              </a:rPr>
              <a:t>SyntheSIS</a:t>
            </a:r>
            <a:r>
              <a:rPr lang="de-DE" sz="3200" b="0" dirty="0">
                <a:solidFill>
                  <a:schemeClr val="tx2"/>
                </a:solidFill>
              </a:rPr>
              <a:t> entwickelt eine </a:t>
            </a:r>
            <a:r>
              <a:rPr lang="de-DE" sz="3200" dirty="0">
                <a:solidFill>
                  <a:schemeClr val="tx2"/>
                </a:solidFill>
              </a:rPr>
              <a:t>simulationsbasierte Plattform</a:t>
            </a:r>
            <a:r>
              <a:rPr lang="de-DE" sz="3200" b="0" dirty="0">
                <a:solidFill>
                  <a:schemeClr val="tx2"/>
                </a:solidFill>
              </a:rPr>
              <a:t>, mit der innovative urbane Mobilitäts- und Logistikkonzepte </a:t>
            </a:r>
            <a:r>
              <a:rPr lang="de-DE" sz="3200" dirty="0">
                <a:solidFill>
                  <a:schemeClr val="tx2"/>
                </a:solidFill>
              </a:rPr>
              <a:t>virtuell erprobt</a:t>
            </a:r>
            <a:r>
              <a:rPr lang="de-DE" sz="3200" b="0" dirty="0">
                <a:solidFill>
                  <a:schemeClr val="tx2"/>
                </a:solidFill>
              </a:rPr>
              <a:t>, ökologisch und ökonomisch analysiert sowie deren Umsetzung und Transfer durch eine </a:t>
            </a:r>
            <a:r>
              <a:rPr lang="de-DE" sz="3200" dirty="0">
                <a:solidFill>
                  <a:schemeClr val="tx2"/>
                </a:solidFill>
              </a:rPr>
              <a:t>modellbasierte, interdisziplinäre Herangehensweise </a:t>
            </a:r>
            <a:r>
              <a:rPr lang="de-DE" sz="3200" b="0" dirty="0">
                <a:solidFill>
                  <a:schemeClr val="tx2"/>
                </a:solidFill>
              </a:rPr>
              <a:t>erleichtert werden.</a:t>
            </a:r>
            <a:endParaRPr lang="en-GB" sz="3200" b="0" noProof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84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F729CF-F066-6AF5-66BB-573B95123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3B9EF5A-684F-7A0A-9607-EEF781332E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10728000" cy="1080000"/>
          </a:xfrm>
        </p:spPr>
        <p:txBody>
          <a:bodyPr/>
          <a:lstStyle/>
          <a:p>
            <a:r>
              <a:rPr lang="en-GB" dirty="0" err="1"/>
              <a:t>SyntheSIS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ispiel</a:t>
            </a:r>
            <a:r>
              <a:rPr lang="en-GB" dirty="0"/>
              <a:t> für </a:t>
            </a:r>
            <a:r>
              <a:rPr lang="en-GB" dirty="0" err="1"/>
              <a:t>Beispiel</a:t>
            </a:r>
            <a:r>
              <a:rPr lang="en-GB" dirty="0"/>
              <a:t> “advanced Co-Creation”</a:t>
            </a:r>
            <a:endParaRPr lang="en-GB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66AA259-047D-0BEF-9F26-7EE66B540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7999" y="6435738"/>
            <a:ext cx="381213" cy="161262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15</a:t>
            </a:fld>
            <a:endParaRPr lang="en-GB" noProof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298C1655-504F-070F-2959-CD42B0CEFB23}"/>
              </a:ext>
            </a:extLst>
          </p:cNvPr>
          <p:cNvSpPr txBox="1">
            <a:spLocks/>
          </p:cNvSpPr>
          <p:nvPr/>
        </p:nvSpPr>
        <p:spPr bwMode="gray">
          <a:xfrm>
            <a:off x="1562277" y="1361628"/>
            <a:ext cx="1988543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216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>
                <a:solidFill>
                  <a:schemeClr val="bg1"/>
                </a:solidFill>
              </a:rPr>
              <a:t>Integration </a:t>
            </a:r>
            <a:r>
              <a:rPr lang="en-GB" noProof="0" dirty="0" err="1">
                <a:solidFill>
                  <a:schemeClr val="bg1"/>
                </a:solidFill>
              </a:rPr>
              <a:t>kommunaler</a:t>
            </a:r>
            <a:r>
              <a:rPr lang="en-GB" noProof="0" dirty="0">
                <a:solidFill>
                  <a:schemeClr val="bg1"/>
                </a:solidFill>
              </a:rPr>
              <a:t> Daten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5E8B12BB-701E-C2C1-4F07-3AAFFADBDFC3}"/>
              </a:ext>
            </a:extLst>
          </p:cNvPr>
          <p:cNvSpPr txBox="1">
            <a:spLocks/>
          </p:cNvSpPr>
          <p:nvPr/>
        </p:nvSpPr>
        <p:spPr bwMode="gray">
          <a:xfrm>
            <a:off x="1562277" y="3128285"/>
            <a:ext cx="2016000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216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 err="1">
                <a:solidFill>
                  <a:schemeClr val="bg1"/>
                </a:solidFill>
              </a:rPr>
              <a:t>Ist</a:t>
            </a:r>
            <a:r>
              <a:rPr lang="en-GB" noProof="0" dirty="0">
                <a:solidFill>
                  <a:schemeClr val="bg1"/>
                </a:solidFill>
              </a:rPr>
              <a:t>-Analyse und </a:t>
            </a:r>
            <a:r>
              <a:rPr lang="en-GB" noProof="0" dirty="0" err="1">
                <a:solidFill>
                  <a:schemeClr val="bg1"/>
                </a:solidFill>
              </a:rPr>
              <a:t>Szenarien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80D91AD5-471E-05B6-0433-538428D4A0DF}"/>
              </a:ext>
            </a:extLst>
          </p:cNvPr>
          <p:cNvSpPr txBox="1">
            <a:spLocks/>
          </p:cNvSpPr>
          <p:nvPr/>
        </p:nvSpPr>
        <p:spPr bwMode="gray">
          <a:xfrm>
            <a:off x="1575236" y="4898583"/>
            <a:ext cx="2016000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216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>
                <a:solidFill>
                  <a:schemeClr val="bg1"/>
                </a:solidFill>
              </a:rPr>
              <a:t>KI-</a:t>
            </a:r>
            <a:r>
              <a:rPr lang="en-GB" noProof="0" dirty="0" err="1">
                <a:solidFill>
                  <a:schemeClr val="bg1"/>
                </a:solidFill>
              </a:rPr>
              <a:t>Fahrzeug</a:t>
            </a:r>
            <a:r>
              <a:rPr lang="en-GB" noProof="0" dirty="0">
                <a:solidFill>
                  <a:schemeClr val="bg1"/>
                </a:solidFill>
              </a:rPr>
              <a:t>-</a:t>
            </a:r>
            <a:r>
              <a:rPr lang="en-GB" noProof="0" dirty="0" err="1">
                <a:solidFill>
                  <a:schemeClr val="bg1"/>
                </a:solidFill>
              </a:rPr>
              <a:t>Spezifikation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AB809563-2358-DACB-95C6-47EBBCA44CA8}"/>
              </a:ext>
            </a:extLst>
          </p:cNvPr>
          <p:cNvSpPr txBox="1">
            <a:spLocks/>
          </p:cNvSpPr>
          <p:nvPr/>
        </p:nvSpPr>
        <p:spPr bwMode="gray">
          <a:xfrm>
            <a:off x="4159167" y="3128285"/>
            <a:ext cx="2016000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108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 err="1">
                <a:solidFill>
                  <a:schemeClr val="bg1"/>
                </a:solidFill>
              </a:rPr>
              <a:t>Szenariosynthese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noProof="0" dirty="0" err="1">
                <a:solidFill>
                  <a:schemeClr val="bg1"/>
                </a:solidFill>
              </a:rPr>
              <a:t>Systemarchitektur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C1E8C7DC-417D-DC5E-F55D-8EAD2DAA6D49}"/>
              </a:ext>
            </a:extLst>
          </p:cNvPr>
          <p:cNvSpPr txBox="1">
            <a:spLocks/>
          </p:cNvSpPr>
          <p:nvPr/>
        </p:nvSpPr>
        <p:spPr bwMode="gray">
          <a:xfrm>
            <a:off x="6779290" y="3128284"/>
            <a:ext cx="2016000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216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>
                <a:solidFill>
                  <a:schemeClr val="bg1"/>
                </a:solidFill>
              </a:rPr>
              <a:t>Simulations-</a:t>
            </a:r>
            <a:r>
              <a:rPr lang="en-GB" noProof="0" dirty="0" err="1">
                <a:solidFill>
                  <a:schemeClr val="bg1"/>
                </a:solidFill>
              </a:rPr>
              <a:t>umgebung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153D63C-C762-2DEA-6770-44AA0AED83DB}"/>
              </a:ext>
            </a:extLst>
          </p:cNvPr>
          <p:cNvSpPr txBox="1">
            <a:spLocks/>
          </p:cNvSpPr>
          <p:nvPr/>
        </p:nvSpPr>
        <p:spPr bwMode="gray">
          <a:xfrm>
            <a:off x="9399413" y="3128284"/>
            <a:ext cx="2016000" cy="1322325"/>
          </a:xfrm>
          <a:prstGeom prst="roundRect">
            <a:avLst>
              <a:gd name="adj" fmla="val 5474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72000" tIns="216000" rIns="216000" bIns="108000" rtlCol="0" anchor="b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GB" noProof="0" dirty="0">
                <a:solidFill>
                  <a:schemeClr val="bg1"/>
                </a:solidFill>
              </a:rPr>
              <a:t>Simulation und </a:t>
            </a:r>
            <a:r>
              <a:rPr lang="en-GB" noProof="0" dirty="0" err="1">
                <a:solidFill>
                  <a:schemeClr val="bg1"/>
                </a:solidFill>
              </a:rPr>
              <a:t>Validierung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994CD1C-84F9-0537-F6EF-DCC25091ECE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8197"/>
          <a:stretch>
            <a:fillRect/>
          </a:stretch>
        </p:blipFill>
        <p:spPr>
          <a:xfrm rot="16200000">
            <a:off x="352982" y="5313601"/>
            <a:ext cx="1322324" cy="492287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BEBF12EC-39BD-8FF2-9E44-6224F32442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-35875" y="3595461"/>
            <a:ext cx="1451539" cy="387969"/>
          </a:xfrm>
          <a:prstGeom prst="rect">
            <a:avLst/>
          </a:prstGeom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7BDE7CE9-D90A-6718-489E-0DDFE61AF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38395" y="1740235"/>
            <a:ext cx="1303928" cy="58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0CF70B87-1E40-30BB-9987-2C3FD5096F0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13850"/>
          <a:stretch>
            <a:fillRect/>
          </a:stretch>
        </p:blipFill>
        <p:spPr>
          <a:xfrm>
            <a:off x="7343132" y="3197685"/>
            <a:ext cx="1384736" cy="46178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25E0C70A-6365-6B0D-FA4B-393BF30CA5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7041" y="3162786"/>
            <a:ext cx="576000" cy="576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79D2386-F606-40AB-5155-7D4DF0B33B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1579" y="1435625"/>
            <a:ext cx="576000" cy="576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407F3EF2-69B3-A1C6-E26D-5B4012638D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31005" y="3180109"/>
            <a:ext cx="576000" cy="576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9B75EE27-8EC3-62B1-40CB-620A9AFE1A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7534" y="3180109"/>
            <a:ext cx="576000" cy="576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69C8B27-2F18-4C52-0F22-CFBCEE87557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1005" y="4970297"/>
            <a:ext cx="566574" cy="566574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667619A-D192-FB0F-21CE-D09C2F46E838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578277" y="3789448"/>
            <a:ext cx="58089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0" name="Verbinder: gekrümmt 39">
            <a:extLst>
              <a:ext uri="{FF2B5EF4-FFF2-40B4-BE49-F238E27FC236}">
                <a16:creationId xmlns:a16="http://schemas.microsoft.com/office/drawing/2014/main" id="{815E9F6F-1E61-7B62-5CE3-91C3DCDDD857}"/>
              </a:ext>
            </a:extLst>
          </p:cNvPr>
          <p:cNvCxnSpPr>
            <a:stCxn id="28" idx="0"/>
            <a:endCxn id="9" idx="0"/>
          </p:cNvCxnSpPr>
          <p:nvPr/>
        </p:nvCxnSpPr>
        <p:spPr>
          <a:xfrm rot="5400000" flipH="1" flipV="1">
            <a:off x="6787297" y="-440007"/>
            <a:ext cx="51825" cy="7188408"/>
          </a:xfrm>
          <a:prstGeom prst="curvedConnector3">
            <a:avLst>
              <a:gd name="adj1" fmla="val 541100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82111D06-5B64-B03A-ED4B-D82AD32A0939}"/>
              </a:ext>
            </a:extLst>
          </p:cNvPr>
          <p:cNvCxnSpPr>
            <a:cxnSpLocks/>
            <a:stCxn id="15" idx="2"/>
            <a:endCxn id="2" idx="0"/>
          </p:cNvCxnSpPr>
          <p:nvPr/>
        </p:nvCxnSpPr>
        <p:spPr>
          <a:xfrm>
            <a:off x="2556549" y="2683953"/>
            <a:ext cx="13728" cy="444332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D66FE3BD-3498-CE4F-95D0-1BA30674D532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>
            <a:off x="2570277" y="4450610"/>
            <a:ext cx="12959" cy="447973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7" name="Verbinder: gekrümmt 56">
            <a:extLst>
              <a:ext uri="{FF2B5EF4-FFF2-40B4-BE49-F238E27FC236}">
                <a16:creationId xmlns:a16="http://schemas.microsoft.com/office/drawing/2014/main" id="{D5DA559F-CD72-9BD3-EAEA-843E64813337}"/>
              </a:ext>
            </a:extLst>
          </p:cNvPr>
          <p:cNvCxnSpPr>
            <a:cxnSpLocks/>
            <a:stCxn id="15" idx="3"/>
            <a:endCxn id="4" idx="0"/>
          </p:cNvCxnSpPr>
          <p:nvPr/>
        </p:nvCxnSpPr>
        <p:spPr>
          <a:xfrm>
            <a:off x="3550820" y="2022791"/>
            <a:ext cx="1616347" cy="1105494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0" name="Verbinder: gekrümmt 59">
            <a:extLst>
              <a:ext uri="{FF2B5EF4-FFF2-40B4-BE49-F238E27FC236}">
                <a16:creationId xmlns:a16="http://schemas.microsoft.com/office/drawing/2014/main" id="{4FEAD422-BB6F-8DCB-9854-C7C697AC0154}"/>
              </a:ext>
            </a:extLst>
          </p:cNvPr>
          <p:cNvCxnSpPr>
            <a:cxnSpLocks/>
            <a:stCxn id="3" idx="3"/>
            <a:endCxn id="4" idx="2"/>
          </p:cNvCxnSpPr>
          <p:nvPr/>
        </p:nvCxnSpPr>
        <p:spPr>
          <a:xfrm flipV="1">
            <a:off x="3591236" y="4450610"/>
            <a:ext cx="1575931" cy="1109136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FDAAC6B-12B6-8259-9340-171F428E8F9F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6175167" y="3789447"/>
            <a:ext cx="604123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50" name="Gerade Verbindung mit Pfeil 2049">
            <a:extLst>
              <a:ext uri="{FF2B5EF4-FFF2-40B4-BE49-F238E27FC236}">
                <a16:creationId xmlns:a16="http://schemas.microsoft.com/office/drawing/2014/main" id="{28FBAFF5-07A0-B60C-C416-71532BEDC03F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8795290" y="3789447"/>
            <a:ext cx="60412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68" name="Verbinder: gekrümmt 2067">
            <a:extLst>
              <a:ext uri="{FF2B5EF4-FFF2-40B4-BE49-F238E27FC236}">
                <a16:creationId xmlns:a16="http://schemas.microsoft.com/office/drawing/2014/main" id="{CEB90A06-F024-7BFB-A90D-17251C69EA53}"/>
              </a:ext>
            </a:extLst>
          </p:cNvPr>
          <p:cNvCxnSpPr>
            <a:cxnSpLocks/>
            <a:stCxn id="9" idx="2"/>
            <a:endCxn id="4" idx="2"/>
          </p:cNvCxnSpPr>
          <p:nvPr/>
        </p:nvCxnSpPr>
        <p:spPr>
          <a:xfrm rot="5400000">
            <a:off x="7787290" y="1830486"/>
            <a:ext cx="1" cy="5240246"/>
          </a:xfrm>
          <a:prstGeom prst="curvedConnector3">
            <a:avLst>
              <a:gd name="adj1" fmla="val 22860100000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76" name="Gerade Verbindung mit Pfeil 2075">
            <a:extLst>
              <a:ext uri="{FF2B5EF4-FFF2-40B4-BE49-F238E27FC236}">
                <a16:creationId xmlns:a16="http://schemas.microsoft.com/office/drawing/2014/main" id="{0F82DA0B-4B0A-A8F7-0131-E72F0287F241}"/>
              </a:ext>
            </a:extLst>
          </p:cNvPr>
          <p:cNvCxnSpPr>
            <a:cxnSpLocks/>
            <a:stCxn id="2056" idx="2"/>
            <a:endCxn id="15" idx="1"/>
          </p:cNvCxnSpPr>
          <p:nvPr/>
        </p:nvCxnSpPr>
        <p:spPr>
          <a:xfrm flipV="1">
            <a:off x="1182113" y="2022791"/>
            <a:ext cx="380164" cy="919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80" name="Gerade Verbindung mit Pfeil 2079">
            <a:extLst>
              <a:ext uri="{FF2B5EF4-FFF2-40B4-BE49-F238E27FC236}">
                <a16:creationId xmlns:a16="http://schemas.microsoft.com/office/drawing/2014/main" id="{7B92E11C-C95A-698B-233B-4FF5241CC444}"/>
              </a:ext>
            </a:extLst>
          </p:cNvPr>
          <p:cNvCxnSpPr>
            <a:cxnSpLocks/>
            <a:stCxn id="22" idx="2"/>
            <a:endCxn id="3" idx="1"/>
          </p:cNvCxnSpPr>
          <p:nvPr/>
        </p:nvCxnSpPr>
        <p:spPr>
          <a:xfrm>
            <a:off x="1260288" y="5559745"/>
            <a:ext cx="314948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83" name="Gerade Verbindung mit Pfeil 2082">
            <a:extLst>
              <a:ext uri="{FF2B5EF4-FFF2-40B4-BE49-F238E27FC236}">
                <a16:creationId xmlns:a16="http://schemas.microsoft.com/office/drawing/2014/main" id="{86D39FD0-C7F0-5267-0076-1E2AAF5352A9}"/>
              </a:ext>
            </a:extLst>
          </p:cNvPr>
          <p:cNvCxnSpPr>
            <a:cxnSpLocks/>
            <a:stCxn id="23" idx="2"/>
            <a:endCxn id="2" idx="1"/>
          </p:cNvCxnSpPr>
          <p:nvPr/>
        </p:nvCxnSpPr>
        <p:spPr>
          <a:xfrm>
            <a:off x="883879" y="3789445"/>
            <a:ext cx="678398" cy="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87" name="Verbinder: gekrümmt 2086">
            <a:extLst>
              <a:ext uri="{FF2B5EF4-FFF2-40B4-BE49-F238E27FC236}">
                <a16:creationId xmlns:a16="http://schemas.microsoft.com/office/drawing/2014/main" id="{A55BC684-2E13-2211-B6BE-BD9DB9200CC1}"/>
              </a:ext>
            </a:extLst>
          </p:cNvPr>
          <p:cNvCxnSpPr>
            <a:cxnSpLocks/>
            <a:stCxn id="2056" idx="1"/>
            <a:endCxn id="2" idx="1"/>
          </p:cNvCxnSpPr>
          <p:nvPr/>
        </p:nvCxnSpPr>
        <p:spPr>
          <a:xfrm rot="16200000" flipH="1">
            <a:off x="673571" y="2900741"/>
            <a:ext cx="1105495" cy="671918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90" name="Verbinder: gekrümmt 2089">
            <a:extLst>
              <a:ext uri="{FF2B5EF4-FFF2-40B4-BE49-F238E27FC236}">
                <a16:creationId xmlns:a16="http://schemas.microsoft.com/office/drawing/2014/main" id="{1EF7C2D9-84C3-954E-2988-7AEE43AA11FC}"/>
              </a:ext>
            </a:extLst>
          </p:cNvPr>
          <p:cNvCxnSpPr>
            <a:cxnSpLocks/>
            <a:stCxn id="22" idx="3"/>
            <a:endCxn id="2" idx="1"/>
          </p:cNvCxnSpPr>
          <p:nvPr/>
        </p:nvCxnSpPr>
        <p:spPr>
          <a:xfrm rot="5400000" flipH="1" flipV="1">
            <a:off x="733643" y="4069950"/>
            <a:ext cx="1109135" cy="548133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239C7DF0-9612-05BD-11C6-920AE4BFE7C1}"/>
              </a:ext>
            </a:extLst>
          </p:cNvPr>
          <p:cNvSpPr/>
          <p:nvPr/>
        </p:nvSpPr>
        <p:spPr>
          <a:xfrm>
            <a:off x="495909" y="4656483"/>
            <a:ext cx="1053409" cy="1779255"/>
          </a:xfrm>
          <a:prstGeom prst="ellipse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l">
              <a:buClr>
                <a:schemeClr val="bg1"/>
              </a:buClr>
            </a:pPr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1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A9BA9C-B35C-F3B6-0A3B-628567B27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4A0497D-A535-A459-09D0-1C01BFD7393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10728000" cy="1080000"/>
          </a:xfrm>
        </p:spPr>
        <p:txBody>
          <a:bodyPr/>
          <a:lstStyle/>
          <a:p>
            <a:r>
              <a:rPr lang="en-GB" dirty="0" err="1"/>
              <a:t>NeMo.bil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ispiel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Cyberphysischen</a:t>
            </a:r>
            <a:r>
              <a:rPr lang="en-GB" dirty="0"/>
              <a:t> Systems</a:t>
            </a:r>
            <a:endParaRPr lang="en-GB" noProof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F681CE-2DA1-6EC9-5F6B-D82D6CF99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461" y="1163356"/>
            <a:ext cx="5685182" cy="476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1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25C29-7571-70B3-3B95-67C3CD050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E981BBD-EA77-2C81-4B8C-6F46E686D2B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10728000" cy="1080000"/>
          </a:xfrm>
        </p:spPr>
        <p:txBody>
          <a:bodyPr/>
          <a:lstStyle/>
          <a:p>
            <a:r>
              <a:rPr lang="en-GB" dirty="0" err="1"/>
              <a:t>NeMo.bil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ispiel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Cyberphysischen</a:t>
            </a:r>
            <a:r>
              <a:rPr lang="en-GB" dirty="0"/>
              <a:t> Systems</a:t>
            </a:r>
            <a:endParaRPr lang="en-GB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68143E-3C23-22AE-30B7-954237690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943" y="987261"/>
            <a:ext cx="10032118" cy="535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14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B7608-155B-714A-5072-D67E1EB33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1913001-E167-9DA3-13F1-04FCCAF4832D}"/>
              </a:ext>
            </a:extLst>
          </p:cNvPr>
          <p:cNvSpPr/>
          <p:nvPr/>
        </p:nvSpPr>
        <p:spPr>
          <a:xfrm>
            <a:off x="1679712" y="1576285"/>
            <a:ext cx="3841472" cy="440707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buClr>
                <a:schemeClr val="bg1"/>
              </a:buClr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B1871A-F4A6-682E-133B-37F37A3A36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7D26153-F8E7-6A13-6452-6C7D67FB3B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0532315-5831-B3E7-4ABC-5D39AD722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erkehr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Cyberphysisches</a:t>
            </a:r>
            <a:r>
              <a:rPr lang="en-GB" dirty="0"/>
              <a:t> System – Smart System Conference 2025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8531B45-4031-0733-C1C9-A4D21E27A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8</a:t>
            </a:fld>
            <a:endParaRPr lang="en-GB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F066332-208F-7014-C915-1EA88C8F33CF}"/>
              </a:ext>
            </a:extLst>
          </p:cNvPr>
          <p:cNvGrpSpPr/>
          <p:nvPr/>
        </p:nvGrpSpPr>
        <p:grpSpPr>
          <a:xfrm>
            <a:off x="6525038" y="1576285"/>
            <a:ext cx="3841474" cy="4407072"/>
            <a:chOff x="7940948" y="3192939"/>
            <a:chExt cx="2425267" cy="2914483"/>
          </a:xfrm>
        </p:grpSpPr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980DE539-3FC4-7F85-7340-5732EA6421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0948" y="5618205"/>
              <a:ext cx="2425267" cy="489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77E8BED-9BB6-FC44-6241-D1BA48440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40948" y="3192939"/>
              <a:ext cx="2425266" cy="2425266"/>
            </a:xfrm>
            <a:prstGeom prst="rect">
              <a:avLst/>
            </a:prstGeom>
          </p:spPr>
        </p:pic>
      </p:grp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8CED2C-B6F5-0CCB-18B1-F8E77FAA1D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98" t="43333" r="23741" b="12599"/>
          <a:stretch>
            <a:fillRect/>
          </a:stretch>
        </p:blipFill>
        <p:spPr bwMode="auto">
          <a:xfrm>
            <a:off x="2023969" y="1917904"/>
            <a:ext cx="3031435" cy="30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fik 18" descr="Ein Bild, das Person, Im Haus, Kleidung, Wand enthält.&#10;&#10;KI-generierte Inhalte können fehlerhaft sein.">
            <a:extLst>
              <a:ext uri="{FF2B5EF4-FFF2-40B4-BE49-F238E27FC236}">
                <a16:creationId xmlns:a16="http://schemas.microsoft.com/office/drawing/2014/main" id="{1C84F266-6079-D29C-3127-33E3C5EF9E51}"/>
              </a:ext>
            </a:extLst>
          </p:cNvPr>
          <p:cNvPicPr>
            <a:picLocks/>
          </p:cNvPicPr>
          <p:nvPr/>
        </p:nvPicPr>
        <p:blipFill>
          <a:blip r:embed="rId6"/>
          <a:srcRect l="25552" r="20488" b="17430"/>
          <a:stretch>
            <a:fillRect/>
          </a:stretch>
        </p:blipFill>
        <p:spPr>
          <a:xfrm>
            <a:off x="2791766" y="372584"/>
            <a:ext cx="1495839" cy="1468115"/>
          </a:xfrm>
          <a:prstGeom prst="ellipse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8D0FED09-99F7-9C10-13F1-D38F25540803}"/>
              </a:ext>
            </a:extLst>
          </p:cNvPr>
          <p:cNvSpPr txBox="1"/>
          <p:nvPr/>
        </p:nvSpPr>
        <p:spPr>
          <a:xfrm>
            <a:off x="1953039" y="5039139"/>
            <a:ext cx="3349487" cy="780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2800" b="1" dirty="0">
                <a:solidFill>
                  <a:schemeClr val="tx2"/>
                </a:solidFill>
              </a:rPr>
              <a:t>Jessica Ramhab</a:t>
            </a:r>
          </a:p>
          <a:p>
            <a:pPr algn="ctr"/>
            <a:r>
              <a:rPr lang="de-DE" sz="2800" b="1" dirty="0">
                <a:solidFill>
                  <a:schemeClr val="tx2"/>
                </a:solidFill>
              </a:rPr>
              <a:t>LinkedIn</a:t>
            </a:r>
          </a:p>
        </p:txBody>
      </p:sp>
    </p:spTree>
    <p:extLst>
      <p:ext uri="{BB962C8B-B14F-4D97-AF65-F5344CB8AC3E}">
        <p14:creationId xmlns:p14="http://schemas.microsoft.com/office/powerpoint/2010/main" val="409935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C2CF4-6946-BF20-051F-E6BD3F6F7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AD3A0A2-942A-F261-5AE1-758426C95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7295" y="890383"/>
            <a:ext cx="6723821" cy="1215883"/>
          </a:xfrm>
        </p:spPr>
        <p:txBody>
          <a:bodyPr anchor="t"/>
          <a:lstStyle/>
          <a:p>
            <a:r>
              <a:rPr lang="de-DE" dirty="0"/>
              <a:t>Jessica Ramhab</a:t>
            </a:r>
            <a:br>
              <a:rPr lang="de-DE" dirty="0"/>
            </a:br>
            <a:r>
              <a:rPr lang="de-DE" sz="4000" b="0" dirty="0"/>
              <a:t>Research Consultant bei adesso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1C9B4E-98A4-F989-55DE-0A08295A8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152" y="2544417"/>
            <a:ext cx="10003735" cy="308610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2800" b="1" dirty="0"/>
              <a:t>Strategische Forschungskoordination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Über gesamtes Themenfeld von IT-Consulting und -Entwicklung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Interne sowie Verbundprojekte über ges. Lifecycle - Ideenfindung bis Verwertung 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Vogelperspektive: technologische und methodische Entwicklung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Schwerpunkt auf Smart City und Verkehr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2000" dirty="0" err="1"/>
              <a:t>Wirtschaftswiss</a:t>
            </a:r>
            <a:r>
              <a:rPr lang="de-DE" sz="2000" dirty="0"/>
              <a:t>., Digital Designerin, </a:t>
            </a:r>
            <a:r>
              <a:rPr lang="de-DE" sz="2000" dirty="0" err="1"/>
              <a:t>Requirement</a:t>
            </a:r>
            <a:r>
              <a:rPr lang="de-DE" sz="2000" dirty="0"/>
              <a:t> Engineer und agile Methoden</a:t>
            </a:r>
          </a:p>
          <a:p>
            <a:pPr>
              <a:lnSpc>
                <a:spcPct val="150000"/>
              </a:lnSpc>
              <a:spcAft>
                <a:spcPts val="600"/>
              </a:spcAft>
              <a:buClr>
                <a:schemeClr val="bg1"/>
              </a:buClr>
            </a:pPr>
            <a:endParaRPr lang="de-DE" sz="2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B5FB9C-CF9B-B444-90F8-3C31882012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00641D6-2BD3-3B12-85A1-522448CB25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E812360-40E6-EE33-B619-BD6A2609F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erkehr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Cyberphysisches</a:t>
            </a:r>
            <a:r>
              <a:rPr lang="en-GB" dirty="0"/>
              <a:t> System – Smart System Conference 2025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444911C-DFDD-303B-0439-5B48E141F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3" name="Grafik 2" descr="Ein Bild, das Person, Im Haus, Kleidung, Wand enthält.&#10;&#10;KI-generierte Inhalte können fehlerhaft sein.">
            <a:extLst>
              <a:ext uri="{FF2B5EF4-FFF2-40B4-BE49-F238E27FC236}">
                <a16:creationId xmlns:a16="http://schemas.microsoft.com/office/drawing/2014/main" id="{42251E35-6726-C0A7-66AC-44052C273726}"/>
              </a:ext>
            </a:extLst>
          </p:cNvPr>
          <p:cNvPicPr>
            <a:picLocks/>
          </p:cNvPicPr>
          <p:nvPr/>
        </p:nvPicPr>
        <p:blipFill>
          <a:blip r:embed="rId3"/>
          <a:srcRect l="25552" r="20488" b="17430"/>
          <a:stretch>
            <a:fillRect/>
          </a:stretch>
        </p:blipFill>
        <p:spPr>
          <a:xfrm>
            <a:off x="529137" y="554498"/>
            <a:ext cx="1930798" cy="188765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50324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38B3E9A-68A8-C892-443C-7B8EA6BE4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GB" noProof="0" smtClean="0"/>
              <a:pPr/>
              <a:t>3</a:t>
            </a:fld>
            <a:endParaRPr lang="en-GB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A622279-3174-91F4-7F9D-F30C82E94B49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1056357" y="470779"/>
            <a:ext cx="3240088" cy="1079500"/>
          </a:xfrm>
        </p:spPr>
        <p:txBody>
          <a:bodyPr/>
          <a:lstStyle/>
          <a:p>
            <a:r>
              <a:rPr lang="en-GB" noProof="0" dirty="0" err="1">
                <a:solidFill>
                  <a:schemeClr val="bg1"/>
                </a:solidFill>
              </a:rPr>
              <a:t>Probleme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BAE3DD9-8757-9116-DC19-0A6D73025578}"/>
              </a:ext>
            </a:extLst>
          </p:cNvPr>
          <p:cNvSpPr txBox="1">
            <a:spLocks/>
          </p:cNvSpPr>
          <p:nvPr/>
        </p:nvSpPr>
        <p:spPr bwMode="gray">
          <a:xfrm>
            <a:off x="1057027" y="1351722"/>
            <a:ext cx="3238748" cy="42727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de-DE" sz="2000" noProof="0" dirty="0">
                <a:solidFill>
                  <a:schemeClr val="bg1"/>
                </a:solidFill>
              </a:rPr>
              <a:t>Staus und Überlastung 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de-DE" sz="2000" noProof="0" dirty="0">
                <a:solidFill>
                  <a:schemeClr val="bg1"/>
                </a:solidFill>
              </a:rPr>
              <a:t>Luftverschmutzung &amp; CO₂-Emissionen 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de-DE" sz="2000" noProof="0" dirty="0">
                <a:solidFill>
                  <a:schemeClr val="bg1"/>
                </a:solidFill>
              </a:rPr>
              <a:t>Unfälle und Sicherheitsrisiken 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de-DE" sz="2000" noProof="0" dirty="0">
                <a:solidFill>
                  <a:schemeClr val="bg1"/>
                </a:solidFill>
              </a:rPr>
              <a:t>Unzureichende Infrastruktur &amp; ÖPNV Qualität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/>
                </a:solidFill>
              </a:rPr>
              <a:t>Beeinträchtigung der Lebensqualität</a:t>
            </a:r>
            <a:endParaRPr lang="de-DE" sz="2000" noProof="0" dirty="0">
              <a:solidFill>
                <a:schemeClr val="bg1"/>
              </a:solidFill>
            </a:endParaRPr>
          </a:p>
          <a:p>
            <a:pPr lvl="4" defTabSz="268288"/>
            <a:endParaRPr lang="en-GB" noProof="0" dirty="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5E763AD-C235-C9F2-21FF-D3D14F39AB7A}"/>
              </a:ext>
            </a:extLst>
          </p:cNvPr>
          <p:cNvPicPr>
            <a:picLocks/>
          </p:cNvPicPr>
          <p:nvPr/>
        </p:nvPicPr>
        <p:blipFill>
          <a:blip r:embed="rId2"/>
          <a:srcRect r="16304"/>
          <a:stretch>
            <a:fillRect/>
          </a:stretch>
        </p:blipFill>
        <p:spPr>
          <a:xfrm>
            <a:off x="4913527" y="498945"/>
            <a:ext cx="3492000" cy="2700000"/>
          </a:xfrm>
          <a:prstGeom prst="roundRect">
            <a:avLst>
              <a:gd name="adj" fmla="val 4734"/>
            </a:avLst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D4F5995-5F99-F565-61D9-168612088A27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6"/>
          <a:stretch>
            <a:fillRect/>
          </a:stretch>
        </p:blipFill>
        <p:spPr bwMode="auto">
          <a:xfrm>
            <a:off x="4913527" y="498945"/>
            <a:ext cx="3492000" cy="2700000"/>
          </a:xfrm>
          <a:prstGeom prst="roundRect">
            <a:avLst>
              <a:gd name="adj" fmla="val 502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83247D4-4F7C-7865-2741-ED68C094D1D5}"/>
              </a:ext>
            </a:extLst>
          </p:cNvPr>
          <p:cNvPicPr>
            <a:picLocks/>
          </p:cNvPicPr>
          <p:nvPr/>
        </p:nvPicPr>
        <p:blipFill>
          <a:blip r:embed="rId4"/>
          <a:srcRect r="27505"/>
          <a:stretch>
            <a:fillRect/>
          </a:stretch>
        </p:blipFill>
        <p:spPr>
          <a:xfrm>
            <a:off x="8571464" y="488669"/>
            <a:ext cx="3492000" cy="2710276"/>
          </a:xfrm>
          <a:prstGeom prst="roundRect">
            <a:avLst>
              <a:gd name="adj" fmla="val 5083"/>
            </a:avLst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42E946FE-A391-6706-26AD-762F37BBA7C6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176"/>
          <a:stretch>
            <a:fillRect/>
          </a:stretch>
        </p:blipFill>
        <p:spPr bwMode="auto">
          <a:xfrm>
            <a:off x="8571464" y="3374335"/>
            <a:ext cx="3492000" cy="2700000"/>
          </a:xfrm>
          <a:prstGeom prst="roundRect">
            <a:avLst>
              <a:gd name="adj" fmla="val 4268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0BB9707-0304-3619-6D6B-8B65973B9490}"/>
              </a:ext>
            </a:extLst>
          </p:cNvPr>
          <p:cNvPicPr>
            <a:picLocks/>
          </p:cNvPicPr>
          <p:nvPr/>
        </p:nvPicPr>
        <p:blipFill>
          <a:blip r:embed="rId6"/>
          <a:srcRect r="22658"/>
          <a:stretch>
            <a:fillRect/>
          </a:stretch>
        </p:blipFill>
        <p:spPr>
          <a:xfrm>
            <a:off x="4913527" y="3374335"/>
            <a:ext cx="3492000" cy="2700000"/>
          </a:xfrm>
          <a:prstGeom prst="roundRect">
            <a:avLst>
              <a:gd name="adj" fmla="val 3396"/>
            </a:avLst>
          </a:prstGeom>
        </p:spPr>
      </p:pic>
      <p:pic>
        <p:nvPicPr>
          <p:cNvPr id="1032" name="Picture 8" descr="frau wird vom lärm der stadt überwältigt und hält sich mit den händen die ohren zu - pollution transport stock-fotos und bilder">
            <a:extLst>
              <a:ext uri="{FF2B5EF4-FFF2-40B4-BE49-F238E27FC236}">
                <a16:creationId xmlns:a16="http://schemas.microsoft.com/office/drawing/2014/main" id="{B953AFC4-9A6F-A284-EF6E-F1A4110747D8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36"/>
          <a:stretch>
            <a:fillRect/>
          </a:stretch>
        </p:blipFill>
        <p:spPr bwMode="auto">
          <a:xfrm>
            <a:off x="4913527" y="3374335"/>
            <a:ext cx="3492000" cy="2700000"/>
          </a:xfrm>
          <a:prstGeom prst="roundRect">
            <a:avLst>
              <a:gd name="adj" fmla="val 5042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AFA41C5-47F6-05F7-2D24-43E528AF8172}"/>
              </a:ext>
            </a:extLst>
          </p:cNvPr>
          <p:cNvPicPr>
            <a:picLocks/>
          </p:cNvPicPr>
          <p:nvPr/>
        </p:nvPicPr>
        <p:blipFill>
          <a:blip r:embed="rId8"/>
          <a:srcRect l="13639" r="14459"/>
          <a:stretch>
            <a:fillRect/>
          </a:stretch>
        </p:blipFill>
        <p:spPr>
          <a:xfrm>
            <a:off x="8571464" y="3374335"/>
            <a:ext cx="3492000" cy="2700000"/>
          </a:xfrm>
          <a:prstGeom prst="roundRect">
            <a:avLst>
              <a:gd name="adj" fmla="val 5071"/>
            </a:avLst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1A19812-701F-8127-FAB4-D2115983CCED}"/>
              </a:ext>
            </a:extLst>
          </p:cNvPr>
          <p:cNvPicPr>
            <a:picLocks/>
          </p:cNvPicPr>
          <p:nvPr/>
        </p:nvPicPr>
        <p:blipFill>
          <a:blip r:embed="rId9"/>
          <a:srcRect r="7337" b="24673"/>
          <a:stretch>
            <a:fillRect/>
          </a:stretch>
        </p:blipFill>
        <p:spPr>
          <a:xfrm>
            <a:off x="8571464" y="498945"/>
            <a:ext cx="3492000" cy="2700000"/>
          </a:xfrm>
          <a:prstGeom prst="roundRect">
            <a:avLst>
              <a:gd name="adj" fmla="val 4151"/>
            </a:avLst>
          </a:prstGeom>
        </p:spPr>
      </p:pic>
    </p:spTree>
    <p:extLst>
      <p:ext uri="{BB962C8B-B14F-4D97-AF65-F5344CB8AC3E}">
        <p14:creationId xmlns:p14="http://schemas.microsoft.com/office/powerpoint/2010/main" val="317770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2DD3F-7DC1-C699-DF5F-07423F380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7BB0098-0B70-70F1-8A6C-D0AAA41C397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55687" y="512676"/>
            <a:ext cx="9832630" cy="525963"/>
          </a:xfrm>
        </p:spPr>
        <p:txBody>
          <a:bodyPr/>
          <a:lstStyle/>
          <a:p>
            <a:r>
              <a:rPr lang="en-GB" dirty="0"/>
              <a:t>Das Problem </a:t>
            </a:r>
            <a:r>
              <a:rPr lang="en-GB" dirty="0" err="1"/>
              <a:t>als</a:t>
            </a:r>
            <a:r>
              <a:rPr lang="en-GB" dirty="0"/>
              <a:t> Problem</a:t>
            </a:r>
            <a:endParaRPr lang="en-GB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60E4A1F-2624-EAB1-B370-63F444B89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335A5A4-5E18-E066-2B5B-F7CD05476237}"/>
              </a:ext>
            </a:extLst>
          </p:cNvPr>
          <p:cNvSpPr txBox="1">
            <a:spLocks/>
          </p:cNvSpPr>
          <p:nvPr/>
        </p:nvSpPr>
        <p:spPr bwMode="gray">
          <a:xfrm>
            <a:off x="5954877" y="2509801"/>
            <a:ext cx="4593814" cy="3616657"/>
          </a:xfrm>
          <a:prstGeom prst="roundRect">
            <a:avLst>
              <a:gd name="adj" fmla="val 6105"/>
            </a:avLst>
          </a:prstGeom>
          <a:solidFill>
            <a:schemeClr val="tx2"/>
          </a:solidFill>
        </p:spPr>
        <p:txBody>
          <a:bodyPr lIns="180000" tIns="792000" rIns="216000" bIns="216000"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Fira Sans" panose="020B0503050000020004" pitchFamily="34" charset="0"/>
              <a:buChar char="&gt;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Fira Sans" panose="020B0503050000020004" pitchFamily="34" charset="0"/>
              <a:buChar char="&gt;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Symbol" panose="05050102010706020507" pitchFamily="18" charset="2"/>
              <a:buChar char="-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Symbol" panose="05050102010706020507" pitchFamily="18" charset="2"/>
              <a:buChar char="-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Fira Sans" panose="020B0503050000020004" pitchFamily="34" charset="0"/>
              <a:buChar char="&gt;"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Fira Sans" panose="020B0503050000020004" pitchFamily="34" charset="0"/>
              <a:buChar char="&gt;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Font typeface="Symbol" panose="05050102010706020507" pitchFamily="18" charset="2"/>
              <a:buChar char="-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noProof="0" dirty="0"/>
              <a:t>Klar </a:t>
            </a:r>
            <a:r>
              <a:rPr lang="en-GB" noProof="0" dirty="0" err="1"/>
              <a:t>definiert</a:t>
            </a:r>
            <a:r>
              <a:rPr lang="en-GB" noProof="0" dirty="0"/>
              <a:t>, </a:t>
            </a:r>
            <a:r>
              <a:rPr lang="en-GB" noProof="0" dirty="0" err="1"/>
              <a:t>lösbar</a:t>
            </a:r>
            <a:r>
              <a:rPr lang="en-GB" noProof="0" dirty="0"/>
              <a:t> </a:t>
            </a:r>
            <a:r>
              <a:rPr lang="en-GB" noProof="0" dirty="0" err="1"/>
              <a:t>mit</a:t>
            </a:r>
            <a:r>
              <a:rPr lang="en-GB" noProof="0" dirty="0"/>
              <a:t> </a:t>
            </a:r>
            <a:r>
              <a:rPr lang="en-GB" noProof="0" dirty="0" err="1"/>
              <a:t>bekannten</a:t>
            </a:r>
            <a:r>
              <a:rPr lang="en-GB" noProof="0" dirty="0"/>
              <a:t> </a:t>
            </a:r>
            <a:r>
              <a:rPr lang="en-GB" noProof="0" dirty="0" err="1"/>
              <a:t>Methoden</a:t>
            </a:r>
            <a:r>
              <a:rPr lang="en-GB" noProof="0" dirty="0"/>
              <a:t> </a:t>
            </a:r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noProof="0" dirty="0"/>
              <a:t>Stabil, gut </a:t>
            </a:r>
            <a:r>
              <a:rPr lang="en-GB" noProof="0" dirty="0" err="1"/>
              <a:t>verstanden</a:t>
            </a:r>
            <a:r>
              <a:rPr lang="en-GB" noProof="0" dirty="0"/>
              <a:t> </a:t>
            </a:r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noProof="0" dirty="0" err="1"/>
              <a:t>Standardprozesse</a:t>
            </a:r>
            <a:r>
              <a:rPr lang="en-GB" noProof="0" dirty="0"/>
              <a:t>, </a:t>
            </a:r>
            <a:r>
              <a:rPr lang="en-GB" noProof="0" dirty="0" err="1"/>
              <a:t>Algorithmen</a:t>
            </a:r>
            <a:r>
              <a:rPr lang="en-GB" noProof="0" dirty="0"/>
              <a:t>, Best Practices </a:t>
            </a:r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noProof="0" dirty="0" err="1"/>
              <a:t>Wenige</a:t>
            </a:r>
            <a:r>
              <a:rPr lang="en-GB" noProof="0" dirty="0"/>
              <a:t>, </a:t>
            </a:r>
            <a:r>
              <a:rPr lang="en-GB" noProof="0" dirty="0" err="1"/>
              <a:t>klare</a:t>
            </a:r>
            <a:r>
              <a:rPr lang="en-GB" noProof="0" dirty="0"/>
              <a:t> Rollen </a:t>
            </a:r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lvl="5">
              <a:buClr>
                <a:schemeClr val="bg1"/>
              </a:buClr>
            </a:pPr>
            <a:endParaRPr lang="en-GB" noProof="0" dirty="0"/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/>
              <a:t>„</a:t>
            </a:r>
            <a:r>
              <a:rPr lang="en-GB" dirty="0" err="1"/>
              <a:t>Richtig</a:t>
            </a:r>
            <a:r>
              <a:rPr lang="en-GB" dirty="0"/>
              <a:t>“ </a:t>
            </a:r>
            <a:r>
              <a:rPr lang="en-GB" dirty="0" err="1"/>
              <a:t>oder</a:t>
            </a:r>
            <a:r>
              <a:rPr lang="en-GB" dirty="0"/>
              <a:t> „</a:t>
            </a:r>
            <a:r>
              <a:rPr lang="en-GB" dirty="0" err="1"/>
              <a:t>falsch</a:t>
            </a:r>
            <a:r>
              <a:rPr lang="en-GB" dirty="0"/>
              <a:t>“, </a:t>
            </a:r>
            <a:r>
              <a:rPr lang="en-GB" dirty="0" err="1"/>
              <a:t>eindeutig</a:t>
            </a:r>
            <a:r>
              <a:rPr lang="en-GB" dirty="0"/>
              <a:t>     </a:t>
            </a:r>
            <a:r>
              <a:rPr lang="en-GB" dirty="0" err="1"/>
              <a:t>überprüfbar</a:t>
            </a:r>
            <a:r>
              <a:rPr lang="en-GB" dirty="0"/>
              <a:t> </a:t>
            </a:r>
          </a:p>
          <a:p>
            <a:pPr marL="285750" lvl="5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noProof="0" dirty="0" err="1"/>
              <a:t>Beispiele</a:t>
            </a:r>
            <a:r>
              <a:rPr lang="en-GB" noProof="0" dirty="0"/>
              <a:t>: Login-Feature, </a:t>
            </a:r>
            <a:r>
              <a:rPr lang="en-GB" noProof="0" dirty="0" err="1"/>
              <a:t>Ladezeitoptimierung</a:t>
            </a:r>
            <a:r>
              <a:rPr lang="en-GB" noProof="0" dirty="0"/>
              <a:t>, </a:t>
            </a:r>
            <a:r>
              <a:rPr lang="en-GB" noProof="0" dirty="0" err="1"/>
              <a:t>Parkleitsysteme</a:t>
            </a:r>
            <a:r>
              <a:rPr lang="en-GB" noProof="0" dirty="0"/>
              <a:t> 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6304F62D-F5A2-50EC-9A55-E0C8CEF578B6}"/>
              </a:ext>
            </a:extLst>
          </p:cNvPr>
          <p:cNvSpPr txBox="1">
            <a:spLocks/>
          </p:cNvSpPr>
          <p:nvPr/>
        </p:nvSpPr>
        <p:spPr bwMode="gray">
          <a:xfrm>
            <a:off x="1055687" y="2509629"/>
            <a:ext cx="4595681" cy="3615853"/>
          </a:xfrm>
          <a:prstGeom prst="roundRect">
            <a:avLst>
              <a:gd name="adj" fmla="val 6103"/>
            </a:avLst>
          </a:prstGeom>
          <a:blipFill dpi="0"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216000" tIns="792000" rIns="216000" bIns="21600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noProof="0" dirty="0">
                <a:solidFill>
                  <a:schemeClr val="tx2"/>
                </a:solidFill>
              </a:rPr>
              <a:t>Komplex, dynamisch, keine eindeutige Lösung </a:t>
            </a:r>
          </a:p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noProof="0" dirty="0">
                <a:solidFill>
                  <a:schemeClr val="tx2"/>
                </a:solidFill>
              </a:rPr>
              <a:t>Unklar, ständig veränderlich </a:t>
            </a:r>
          </a:p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noProof="0" dirty="0">
                <a:solidFill>
                  <a:schemeClr val="tx2"/>
                </a:solidFill>
              </a:rPr>
              <a:t>Iterativ, kreativ, Design </a:t>
            </a:r>
            <a:r>
              <a:rPr lang="de-DE" noProof="0" dirty="0" err="1">
                <a:solidFill>
                  <a:schemeClr val="tx2"/>
                </a:solidFill>
              </a:rPr>
              <a:t>Thinking</a:t>
            </a:r>
            <a:r>
              <a:rPr lang="de-DE" noProof="0" dirty="0">
                <a:solidFill>
                  <a:schemeClr val="tx2"/>
                </a:solidFill>
              </a:rPr>
              <a:t>, Co-</a:t>
            </a:r>
            <a:r>
              <a:rPr lang="de-DE" noProof="0" dirty="0" err="1">
                <a:solidFill>
                  <a:schemeClr val="tx2"/>
                </a:solidFill>
              </a:rPr>
              <a:t>Creation</a:t>
            </a:r>
            <a:r>
              <a:rPr lang="de-DE" noProof="0" dirty="0">
                <a:solidFill>
                  <a:schemeClr val="tx2"/>
                </a:solidFill>
              </a:rPr>
              <a:t> </a:t>
            </a:r>
          </a:p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noProof="0" dirty="0">
                <a:solidFill>
                  <a:schemeClr val="tx2"/>
                </a:solidFill>
              </a:rPr>
              <a:t>Viele, widersprüchliche Interessen </a:t>
            </a:r>
          </a:p>
          <a:p>
            <a:pPr marL="285750" lvl="5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lvl="5"/>
            <a:endParaRPr lang="de-DE" noProof="0" dirty="0">
              <a:solidFill>
                <a:schemeClr val="tx2"/>
              </a:solidFill>
            </a:endParaRPr>
          </a:p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„Besser“ oder „schlechter“, nie vollständig gelöst </a:t>
            </a:r>
          </a:p>
          <a:p>
            <a:pPr marL="285750" lvl="5" indent="-285750">
              <a:buFont typeface="Arial" panose="020B0604020202020204" pitchFamily="34" charset="0"/>
              <a:buChar char="•"/>
            </a:pPr>
            <a:r>
              <a:rPr lang="de-DE" noProof="0" dirty="0">
                <a:solidFill>
                  <a:schemeClr val="tx2"/>
                </a:solidFill>
              </a:rPr>
              <a:t>Beispiele: Digitale Transformation, Nachhaltigkeit…Verkehrswend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B08A1A00-E2D3-1990-A5D4-D110BEA655BF}"/>
              </a:ext>
            </a:extLst>
          </p:cNvPr>
          <p:cNvSpPr txBox="1">
            <a:spLocks/>
          </p:cNvSpPr>
          <p:nvPr/>
        </p:nvSpPr>
        <p:spPr bwMode="gray">
          <a:xfrm>
            <a:off x="1055687" y="2509629"/>
            <a:ext cx="4595681" cy="740467"/>
          </a:xfrm>
          <a:prstGeom prst="roundRect">
            <a:avLst>
              <a:gd name="adj" fmla="val 27517"/>
            </a:avLst>
          </a:prstGeom>
          <a:blipFill dpi="0" rotWithShape="1">
            <a:blip r:embed="rId2" cstate="screen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216000" tIns="72000" rIns="216000" bIns="21600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en-GB" sz="2800" noProof="0" dirty="0">
                <a:solidFill>
                  <a:schemeClr val="tx2"/>
                </a:solidFill>
              </a:rPr>
              <a:t>Wicked Problems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96C4AB4C-80AF-A2A9-2E65-4E67429DE0DE}"/>
              </a:ext>
            </a:extLst>
          </p:cNvPr>
          <p:cNvSpPr txBox="1">
            <a:spLocks/>
          </p:cNvSpPr>
          <p:nvPr/>
        </p:nvSpPr>
        <p:spPr bwMode="gray">
          <a:xfrm>
            <a:off x="5954877" y="2509629"/>
            <a:ext cx="4595681" cy="740467"/>
          </a:xfrm>
          <a:prstGeom prst="roundRect">
            <a:avLst>
              <a:gd name="adj" fmla="val 27517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216000" tIns="72000" rIns="216000" bIns="21600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Font typeface="Symbol" panose="05050102010706020507" pitchFamily="18" charset="2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Fira Sans" panose="020B0503050000020004" pitchFamily="34" charset="0"/>
              <a:buChar char="&gt;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en-GB" sz="2800" noProof="0" dirty="0">
                <a:solidFill>
                  <a:schemeClr val="bg1"/>
                </a:solidFill>
              </a:rPr>
              <a:t>Tamed Problems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2DC1E8E-996A-EF16-343C-46F2F8DCE221}"/>
              </a:ext>
            </a:extLst>
          </p:cNvPr>
          <p:cNvCxnSpPr/>
          <p:nvPr/>
        </p:nvCxnSpPr>
        <p:spPr>
          <a:xfrm>
            <a:off x="1055687" y="4815509"/>
            <a:ext cx="4595681" cy="0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43CFE1F4-C93F-CF6B-CDB5-80D29D680BF1}"/>
              </a:ext>
            </a:extLst>
          </p:cNvPr>
          <p:cNvCxnSpPr/>
          <p:nvPr/>
        </p:nvCxnSpPr>
        <p:spPr>
          <a:xfrm>
            <a:off x="5954877" y="4815509"/>
            <a:ext cx="4595681" cy="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A27E584D-3D54-3F2C-8726-FFCC75729B9D}"/>
              </a:ext>
            </a:extLst>
          </p:cNvPr>
          <p:cNvSpPr/>
          <p:nvPr/>
        </p:nvSpPr>
        <p:spPr>
          <a:xfrm>
            <a:off x="1950390" y="1215175"/>
            <a:ext cx="4828097" cy="1162878"/>
          </a:xfrm>
          <a:custGeom>
            <a:avLst/>
            <a:gdLst>
              <a:gd name="connsiteX0" fmla="*/ 469789 w 4828097"/>
              <a:gd name="connsiteY0" fmla="*/ 601317 h 1162878"/>
              <a:gd name="connsiteX1" fmla="*/ 494636 w 4828097"/>
              <a:gd name="connsiteY1" fmla="*/ 611256 h 1162878"/>
              <a:gd name="connsiteX2" fmla="*/ 102041 w 4828097"/>
              <a:gd name="connsiteY2" fmla="*/ 626165 h 1162878"/>
              <a:gd name="connsiteX3" fmla="*/ 141797 w 4828097"/>
              <a:gd name="connsiteY3" fmla="*/ 501926 h 1162878"/>
              <a:gd name="connsiteX4" fmla="*/ 375367 w 4828097"/>
              <a:gd name="connsiteY4" fmla="*/ 432352 h 1162878"/>
              <a:gd name="connsiteX5" fmla="*/ 430032 w 4828097"/>
              <a:gd name="connsiteY5" fmla="*/ 477078 h 1162878"/>
              <a:gd name="connsiteX6" fmla="*/ 449910 w 4828097"/>
              <a:gd name="connsiteY6" fmla="*/ 511865 h 1162878"/>
              <a:gd name="connsiteX7" fmla="*/ 454880 w 4828097"/>
              <a:gd name="connsiteY7" fmla="*/ 536713 h 1162878"/>
              <a:gd name="connsiteX8" fmla="*/ 673541 w 4828097"/>
              <a:gd name="connsiteY8" fmla="*/ 581439 h 1162878"/>
              <a:gd name="connsiteX9" fmla="*/ 897171 w 4828097"/>
              <a:gd name="connsiteY9" fmla="*/ 511865 h 1162878"/>
              <a:gd name="connsiteX10" fmla="*/ 723236 w 4828097"/>
              <a:gd name="connsiteY10" fmla="*/ 332961 h 1162878"/>
              <a:gd name="connsiteX11" fmla="*/ 618876 w 4828097"/>
              <a:gd name="connsiteY11" fmla="*/ 362778 h 1162878"/>
              <a:gd name="connsiteX12" fmla="*/ 410154 w 4828097"/>
              <a:gd name="connsiteY12" fmla="*/ 680830 h 1162878"/>
              <a:gd name="connsiteX13" fmla="*/ 425063 w 4828097"/>
              <a:gd name="connsiteY13" fmla="*/ 745435 h 1162878"/>
              <a:gd name="connsiteX14" fmla="*/ 435002 w 4828097"/>
              <a:gd name="connsiteY14" fmla="*/ 780222 h 1162878"/>
              <a:gd name="connsiteX15" fmla="*/ 375367 w 4828097"/>
              <a:gd name="connsiteY15" fmla="*/ 834887 h 1162878"/>
              <a:gd name="connsiteX16" fmla="*/ 251128 w 4828097"/>
              <a:gd name="connsiteY16" fmla="*/ 790161 h 1162878"/>
              <a:gd name="connsiteX17" fmla="*/ 251128 w 4828097"/>
              <a:gd name="connsiteY17" fmla="*/ 427383 h 1162878"/>
              <a:gd name="connsiteX18" fmla="*/ 330641 w 4828097"/>
              <a:gd name="connsiteY18" fmla="*/ 392596 h 1162878"/>
              <a:gd name="connsiteX19" fmla="*/ 529423 w 4828097"/>
              <a:gd name="connsiteY19" fmla="*/ 496956 h 1162878"/>
              <a:gd name="connsiteX20" fmla="*/ 559241 w 4828097"/>
              <a:gd name="connsiteY20" fmla="*/ 601317 h 1162878"/>
              <a:gd name="connsiteX21" fmla="*/ 569180 w 4828097"/>
              <a:gd name="connsiteY21" fmla="*/ 641074 h 1162878"/>
              <a:gd name="connsiteX22" fmla="*/ 633784 w 4828097"/>
              <a:gd name="connsiteY22" fmla="*/ 646043 h 1162878"/>
              <a:gd name="connsiteX23" fmla="*/ 777902 w 4828097"/>
              <a:gd name="connsiteY23" fmla="*/ 621196 h 1162878"/>
              <a:gd name="connsiteX24" fmla="*/ 892202 w 4828097"/>
              <a:gd name="connsiteY24" fmla="*/ 496956 h 1162878"/>
              <a:gd name="connsiteX25" fmla="*/ 723236 w 4828097"/>
              <a:gd name="connsiteY25" fmla="*/ 288235 h 1162878"/>
              <a:gd name="connsiteX26" fmla="*/ 638754 w 4828097"/>
              <a:gd name="connsiteY26" fmla="*/ 283265 h 1162878"/>
              <a:gd name="connsiteX27" fmla="*/ 574150 w 4828097"/>
              <a:gd name="connsiteY27" fmla="*/ 551622 h 1162878"/>
              <a:gd name="connsiteX28" fmla="*/ 633784 w 4828097"/>
              <a:gd name="connsiteY28" fmla="*/ 596348 h 1162878"/>
              <a:gd name="connsiteX29" fmla="*/ 683480 w 4828097"/>
              <a:gd name="connsiteY29" fmla="*/ 303143 h 1162878"/>
              <a:gd name="connsiteX30" fmla="*/ 519484 w 4828097"/>
              <a:gd name="connsiteY30" fmla="*/ 278296 h 1162878"/>
              <a:gd name="connsiteX31" fmla="*/ 444941 w 4828097"/>
              <a:gd name="connsiteY31" fmla="*/ 293204 h 1162878"/>
              <a:gd name="connsiteX32" fmla="*/ 529423 w 4828097"/>
              <a:gd name="connsiteY32" fmla="*/ 491987 h 1162878"/>
              <a:gd name="connsiteX33" fmla="*/ 574150 w 4828097"/>
              <a:gd name="connsiteY33" fmla="*/ 442291 h 1162878"/>
              <a:gd name="connsiteX34" fmla="*/ 390276 w 4828097"/>
              <a:gd name="connsiteY34" fmla="*/ 19878 h 1162878"/>
              <a:gd name="connsiteX35" fmla="*/ 325671 w 4828097"/>
              <a:gd name="connsiteY35" fmla="*/ 0 h 1162878"/>
              <a:gd name="connsiteX36" fmla="*/ 42406 w 4828097"/>
              <a:gd name="connsiteY36" fmla="*/ 253448 h 1162878"/>
              <a:gd name="connsiteX37" fmla="*/ 37436 w 4828097"/>
              <a:gd name="connsiteY37" fmla="*/ 432352 h 1162878"/>
              <a:gd name="connsiteX38" fmla="*/ 146767 w 4828097"/>
              <a:gd name="connsiteY38" fmla="*/ 531743 h 1162878"/>
              <a:gd name="connsiteX39" fmla="*/ 345550 w 4828097"/>
              <a:gd name="connsiteY39" fmla="*/ 601317 h 1162878"/>
              <a:gd name="connsiteX40" fmla="*/ 439971 w 4828097"/>
              <a:gd name="connsiteY40" fmla="*/ 655983 h 1162878"/>
              <a:gd name="connsiteX41" fmla="*/ 603967 w 4828097"/>
              <a:gd name="connsiteY41" fmla="*/ 1128091 h 1162878"/>
              <a:gd name="connsiteX42" fmla="*/ 579119 w 4828097"/>
              <a:gd name="connsiteY42" fmla="*/ 1162878 h 1162878"/>
              <a:gd name="connsiteX43" fmla="*/ 325671 w 4828097"/>
              <a:gd name="connsiteY43" fmla="*/ 740465 h 1162878"/>
              <a:gd name="connsiteX44" fmla="*/ 335610 w 4828097"/>
              <a:gd name="connsiteY44" fmla="*/ 606287 h 1162878"/>
              <a:gd name="connsiteX45" fmla="*/ 464819 w 4828097"/>
              <a:gd name="connsiteY45" fmla="*/ 457200 h 1162878"/>
              <a:gd name="connsiteX46" fmla="*/ 594028 w 4828097"/>
              <a:gd name="connsiteY46" fmla="*/ 402535 h 1162878"/>
              <a:gd name="connsiteX47" fmla="*/ 772932 w 4828097"/>
              <a:gd name="connsiteY47" fmla="*/ 397565 h 1162878"/>
              <a:gd name="connsiteX48" fmla="*/ 857415 w 4828097"/>
              <a:gd name="connsiteY48" fmla="*/ 362778 h 1162878"/>
              <a:gd name="connsiteX49" fmla="*/ 782871 w 4828097"/>
              <a:gd name="connsiteY49" fmla="*/ 178904 h 1162878"/>
              <a:gd name="connsiteX50" fmla="*/ 733176 w 4828097"/>
              <a:gd name="connsiteY50" fmla="*/ 163996 h 1162878"/>
              <a:gd name="connsiteX51" fmla="*/ 688450 w 4828097"/>
              <a:gd name="connsiteY51" fmla="*/ 168965 h 1162878"/>
              <a:gd name="connsiteX52" fmla="*/ 608936 w 4828097"/>
              <a:gd name="connsiteY52" fmla="*/ 308113 h 1162878"/>
              <a:gd name="connsiteX53" fmla="*/ 743115 w 4828097"/>
              <a:gd name="connsiteY53" fmla="*/ 407504 h 1162878"/>
              <a:gd name="connsiteX54" fmla="*/ 767963 w 4828097"/>
              <a:gd name="connsiteY54" fmla="*/ 452230 h 1162878"/>
              <a:gd name="connsiteX55" fmla="*/ 782871 w 4828097"/>
              <a:gd name="connsiteY55" fmla="*/ 834887 h 1162878"/>
              <a:gd name="connsiteX56" fmla="*/ 469789 w 4828097"/>
              <a:gd name="connsiteY56" fmla="*/ 810039 h 1162878"/>
              <a:gd name="connsiteX57" fmla="*/ 400215 w 4828097"/>
              <a:gd name="connsiteY57" fmla="*/ 700709 h 1162878"/>
              <a:gd name="connsiteX58" fmla="*/ 385306 w 4828097"/>
              <a:gd name="connsiteY58" fmla="*/ 601317 h 1162878"/>
              <a:gd name="connsiteX59" fmla="*/ 628815 w 4828097"/>
              <a:gd name="connsiteY59" fmla="*/ 531743 h 1162878"/>
              <a:gd name="connsiteX60" fmla="*/ 802750 w 4828097"/>
              <a:gd name="connsiteY60" fmla="*/ 576469 h 1162878"/>
              <a:gd name="connsiteX61" fmla="*/ 812689 w 4828097"/>
              <a:gd name="connsiteY61" fmla="*/ 596348 h 1162878"/>
              <a:gd name="connsiteX62" fmla="*/ 589058 w 4828097"/>
              <a:gd name="connsiteY62" fmla="*/ 770283 h 1162878"/>
              <a:gd name="connsiteX63" fmla="*/ 435002 w 4828097"/>
              <a:gd name="connsiteY63" fmla="*/ 805069 h 1162878"/>
              <a:gd name="connsiteX64" fmla="*/ 290884 w 4828097"/>
              <a:gd name="connsiteY64" fmla="*/ 790161 h 1162878"/>
              <a:gd name="connsiteX65" fmla="*/ 57315 w 4828097"/>
              <a:gd name="connsiteY65" fmla="*/ 690769 h 1162878"/>
              <a:gd name="connsiteX66" fmla="*/ 7619 w 4828097"/>
              <a:gd name="connsiteY66" fmla="*/ 576469 h 1162878"/>
              <a:gd name="connsiteX67" fmla="*/ 2650 w 4828097"/>
              <a:gd name="connsiteY67" fmla="*/ 422413 h 1162878"/>
              <a:gd name="connsiteX68" fmla="*/ 22528 w 4828097"/>
              <a:gd name="connsiteY68" fmla="*/ 342900 h 1162878"/>
              <a:gd name="connsiteX69" fmla="*/ 360458 w 4828097"/>
              <a:gd name="connsiteY69" fmla="*/ 273326 h 1162878"/>
              <a:gd name="connsiteX70" fmla="*/ 435002 w 4828097"/>
              <a:gd name="connsiteY70" fmla="*/ 288235 h 1162878"/>
              <a:gd name="connsiteX71" fmla="*/ 598997 w 4828097"/>
              <a:gd name="connsiteY71" fmla="*/ 417443 h 1162878"/>
              <a:gd name="connsiteX72" fmla="*/ 668571 w 4828097"/>
              <a:gd name="connsiteY72" fmla="*/ 472109 h 1162878"/>
              <a:gd name="connsiteX73" fmla="*/ 996563 w 4828097"/>
              <a:gd name="connsiteY73" fmla="*/ 566530 h 1162878"/>
              <a:gd name="connsiteX74" fmla="*/ 1110863 w 4828097"/>
              <a:gd name="connsiteY74" fmla="*/ 437322 h 1162878"/>
              <a:gd name="connsiteX75" fmla="*/ 1046258 w 4828097"/>
              <a:gd name="connsiteY75" fmla="*/ 303143 h 1162878"/>
              <a:gd name="connsiteX76" fmla="*/ 1021410 w 4828097"/>
              <a:gd name="connsiteY76" fmla="*/ 556591 h 1162878"/>
              <a:gd name="connsiteX77" fmla="*/ 1076076 w 4828097"/>
              <a:gd name="connsiteY77" fmla="*/ 571500 h 1162878"/>
              <a:gd name="connsiteX78" fmla="*/ 1259950 w 4828097"/>
              <a:gd name="connsiteY78" fmla="*/ 536713 h 1162878"/>
              <a:gd name="connsiteX79" fmla="*/ 1294736 w 4828097"/>
              <a:gd name="connsiteY79" fmla="*/ 516835 h 1162878"/>
              <a:gd name="connsiteX80" fmla="*/ 1319584 w 4828097"/>
              <a:gd name="connsiteY80" fmla="*/ 462169 h 1162878"/>
              <a:gd name="connsiteX81" fmla="*/ 1324554 w 4828097"/>
              <a:gd name="connsiteY81" fmla="*/ 402535 h 1162878"/>
              <a:gd name="connsiteX82" fmla="*/ 1334493 w 4828097"/>
              <a:gd name="connsiteY82" fmla="*/ 347869 h 1162878"/>
              <a:gd name="connsiteX83" fmla="*/ 1309645 w 4828097"/>
              <a:gd name="connsiteY83" fmla="*/ 332961 h 1162878"/>
              <a:gd name="connsiteX84" fmla="*/ 1264919 w 4828097"/>
              <a:gd name="connsiteY84" fmla="*/ 362778 h 1162878"/>
              <a:gd name="connsiteX85" fmla="*/ 1349402 w 4828097"/>
              <a:gd name="connsiteY85" fmla="*/ 511865 h 1162878"/>
              <a:gd name="connsiteX86" fmla="*/ 1458732 w 4828097"/>
              <a:gd name="connsiteY86" fmla="*/ 511865 h 1162878"/>
              <a:gd name="connsiteX87" fmla="*/ 1617758 w 4828097"/>
              <a:gd name="connsiteY87" fmla="*/ 646043 h 1162878"/>
              <a:gd name="connsiteX88" fmla="*/ 1478610 w 4828097"/>
              <a:gd name="connsiteY88" fmla="*/ 670891 h 1162878"/>
              <a:gd name="connsiteX89" fmla="*/ 1394128 w 4828097"/>
              <a:gd name="connsiteY89" fmla="*/ 616226 h 1162878"/>
              <a:gd name="connsiteX90" fmla="*/ 1374250 w 4828097"/>
              <a:gd name="connsiteY90" fmla="*/ 581439 h 1162878"/>
              <a:gd name="connsiteX91" fmla="*/ 1399097 w 4828097"/>
              <a:gd name="connsiteY91" fmla="*/ 501926 h 1162878"/>
              <a:gd name="connsiteX92" fmla="*/ 1662484 w 4828097"/>
              <a:gd name="connsiteY92" fmla="*/ 412474 h 1162878"/>
              <a:gd name="connsiteX93" fmla="*/ 1702241 w 4828097"/>
              <a:gd name="connsiteY93" fmla="*/ 387626 h 1162878"/>
              <a:gd name="connsiteX94" fmla="*/ 1607819 w 4828097"/>
              <a:gd name="connsiteY94" fmla="*/ 303143 h 1162878"/>
              <a:gd name="connsiteX95" fmla="*/ 1563093 w 4828097"/>
              <a:gd name="connsiteY95" fmla="*/ 308113 h 1162878"/>
              <a:gd name="connsiteX96" fmla="*/ 1597880 w 4828097"/>
              <a:gd name="connsiteY96" fmla="*/ 521804 h 1162878"/>
              <a:gd name="connsiteX97" fmla="*/ 1975567 w 4828097"/>
              <a:gd name="connsiteY97" fmla="*/ 586409 h 1162878"/>
              <a:gd name="connsiteX98" fmla="*/ 2045141 w 4828097"/>
              <a:gd name="connsiteY98" fmla="*/ 581439 h 1162878"/>
              <a:gd name="connsiteX99" fmla="*/ 2060050 w 4828097"/>
              <a:gd name="connsiteY99" fmla="*/ 472109 h 1162878"/>
              <a:gd name="connsiteX100" fmla="*/ 2243923 w 4828097"/>
              <a:gd name="connsiteY100" fmla="*/ 546652 h 1162878"/>
              <a:gd name="connsiteX101" fmla="*/ 2288650 w 4828097"/>
              <a:gd name="connsiteY101" fmla="*/ 586409 h 1162878"/>
              <a:gd name="connsiteX102" fmla="*/ 2268771 w 4828097"/>
              <a:gd name="connsiteY102" fmla="*/ 660952 h 1162878"/>
              <a:gd name="connsiteX103" fmla="*/ 2253863 w 4828097"/>
              <a:gd name="connsiteY103" fmla="*/ 576469 h 1162878"/>
              <a:gd name="connsiteX104" fmla="*/ 2328406 w 4828097"/>
              <a:gd name="connsiteY104" fmla="*/ 437322 h 1162878"/>
              <a:gd name="connsiteX105" fmla="*/ 2368163 w 4828097"/>
              <a:gd name="connsiteY105" fmla="*/ 427383 h 1162878"/>
              <a:gd name="connsiteX106" fmla="*/ 2477493 w 4828097"/>
              <a:gd name="connsiteY106" fmla="*/ 501926 h 1162878"/>
              <a:gd name="connsiteX107" fmla="*/ 2527189 w 4828097"/>
              <a:gd name="connsiteY107" fmla="*/ 586409 h 1162878"/>
              <a:gd name="connsiteX108" fmla="*/ 2547067 w 4828097"/>
              <a:gd name="connsiteY108" fmla="*/ 591378 h 1162878"/>
              <a:gd name="connsiteX109" fmla="*/ 2631550 w 4828097"/>
              <a:gd name="connsiteY109" fmla="*/ 501926 h 1162878"/>
              <a:gd name="connsiteX110" fmla="*/ 2656397 w 4828097"/>
              <a:gd name="connsiteY110" fmla="*/ 482048 h 1162878"/>
              <a:gd name="connsiteX111" fmla="*/ 2795545 w 4828097"/>
              <a:gd name="connsiteY111" fmla="*/ 506896 h 1162878"/>
              <a:gd name="connsiteX112" fmla="*/ 2835302 w 4828097"/>
              <a:gd name="connsiteY112" fmla="*/ 521804 h 1162878"/>
              <a:gd name="connsiteX113" fmla="*/ 2860150 w 4828097"/>
              <a:gd name="connsiteY113" fmla="*/ 526774 h 1162878"/>
              <a:gd name="connsiteX114" fmla="*/ 2914815 w 4828097"/>
              <a:gd name="connsiteY114" fmla="*/ 516835 h 1162878"/>
              <a:gd name="connsiteX115" fmla="*/ 2979419 w 4828097"/>
              <a:gd name="connsiteY115" fmla="*/ 496956 h 1162878"/>
              <a:gd name="connsiteX116" fmla="*/ 3048993 w 4828097"/>
              <a:gd name="connsiteY116" fmla="*/ 501926 h 1162878"/>
              <a:gd name="connsiteX117" fmla="*/ 3093719 w 4828097"/>
              <a:gd name="connsiteY117" fmla="*/ 521804 h 1162878"/>
              <a:gd name="connsiteX118" fmla="*/ 3123536 w 4828097"/>
              <a:gd name="connsiteY118" fmla="*/ 551622 h 1162878"/>
              <a:gd name="connsiteX119" fmla="*/ 3148384 w 4828097"/>
              <a:gd name="connsiteY119" fmla="*/ 566530 h 1162878"/>
              <a:gd name="connsiteX120" fmla="*/ 3193110 w 4828097"/>
              <a:gd name="connsiteY120" fmla="*/ 586409 h 1162878"/>
              <a:gd name="connsiteX121" fmla="*/ 3272623 w 4828097"/>
              <a:gd name="connsiteY121" fmla="*/ 591378 h 1162878"/>
              <a:gd name="connsiteX122" fmla="*/ 3362076 w 4828097"/>
              <a:gd name="connsiteY122" fmla="*/ 611256 h 1162878"/>
              <a:gd name="connsiteX123" fmla="*/ 3401832 w 4828097"/>
              <a:gd name="connsiteY123" fmla="*/ 626165 h 1162878"/>
              <a:gd name="connsiteX124" fmla="*/ 3431650 w 4828097"/>
              <a:gd name="connsiteY124" fmla="*/ 646043 h 1162878"/>
              <a:gd name="connsiteX125" fmla="*/ 3451528 w 4828097"/>
              <a:gd name="connsiteY125" fmla="*/ 651013 h 1162878"/>
              <a:gd name="connsiteX126" fmla="*/ 3695036 w 4828097"/>
              <a:gd name="connsiteY126" fmla="*/ 641074 h 1162878"/>
              <a:gd name="connsiteX127" fmla="*/ 4828097 w 4828097"/>
              <a:gd name="connsiteY127" fmla="*/ 636104 h 1162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4828097" h="1162878">
                <a:moveTo>
                  <a:pt x="469789" y="601317"/>
                </a:moveTo>
                <a:cubicBezTo>
                  <a:pt x="478071" y="604630"/>
                  <a:pt x="503536" y="610655"/>
                  <a:pt x="494636" y="611256"/>
                </a:cubicBezTo>
                <a:cubicBezTo>
                  <a:pt x="363975" y="620085"/>
                  <a:pt x="227133" y="664926"/>
                  <a:pt x="102041" y="626165"/>
                </a:cubicBezTo>
                <a:cubicBezTo>
                  <a:pt x="60508" y="613296"/>
                  <a:pt x="116166" y="537050"/>
                  <a:pt x="141797" y="501926"/>
                </a:cubicBezTo>
                <a:cubicBezTo>
                  <a:pt x="199470" y="422893"/>
                  <a:pt x="294105" y="438156"/>
                  <a:pt x="375367" y="432352"/>
                </a:cubicBezTo>
                <a:cubicBezTo>
                  <a:pt x="393589" y="447261"/>
                  <a:pt x="413930" y="459902"/>
                  <a:pt x="430032" y="477078"/>
                </a:cubicBezTo>
                <a:cubicBezTo>
                  <a:pt x="439166" y="486821"/>
                  <a:pt x="444773" y="499537"/>
                  <a:pt x="449910" y="511865"/>
                </a:cubicBezTo>
                <a:cubicBezTo>
                  <a:pt x="453159" y="519662"/>
                  <a:pt x="446815" y="534204"/>
                  <a:pt x="454880" y="536713"/>
                </a:cubicBezTo>
                <a:cubicBezTo>
                  <a:pt x="525918" y="558814"/>
                  <a:pt x="600654" y="566530"/>
                  <a:pt x="673541" y="581439"/>
                </a:cubicBezTo>
                <a:cubicBezTo>
                  <a:pt x="748084" y="558248"/>
                  <a:pt x="856777" y="578670"/>
                  <a:pt x="897171" y="511865"/>
                </a:cubicBezTo>
                <a:cubicBezTo>
                  <a:pt x="954585" y="416912"/>
                  <a:pt x="770895" y="353812"/>
                  <a:pt x="723236" y="332961"/>
                </a:cubicBezTo>
                <a:cubicBezTo>
                  <a:pt x="688449" y="342900"/>
                  <a:pt x="647630" y="340821"/>
                  <a:pt x="618876" y="362778"/>
                </a:cubicBezTo>
                <a:cubicBezTo>
                  <a:pt x="438588" y="500452"/>
                  <a:pt x="459624" y="507682"/>
                  <a:pt x="410154" y="680830"/>
                </a:cubicBezTo>
                <a:cubicBezTo>
                  <a:pt x="415124" y="702365"/>
                  <a:pt x="419703" y="723994"/>
                  <a:pt x="425063" y="745435"/>
                </a:cubicBezTo>
                <a:cubicBezTo>
                  <a:pt x="427988" y="757135"/>
                  <a:pt x="440859" y="769680"/>
                  <a:pt x="435002" y="780222"/>
                </a:cubicBezTo>
                <a:cubicBezTo>
                  <a:pt x="421906" y="803795"/>
                  <a:pt x="395245" y="816665"/>
                  <a:pt x="375367" y="834887"/>
                </a:cubicBezTo>
                <a:cubicBezTo>
                  <a:pt x="333954" y="819978"/>
                  <a:pt x="278428" y="824687"/>
                  <a:pt x="251128" y="790161"/>
                </a:cubicBezTo>
                <a:cubicBezTo>
                  <a:pt x="180307" y="700594"/>
                  <a:pt x="203690" y="514669"/>
                  <a:pt x="251128" y="427383"/>
                </a:cubicBezTo>
                <a:cubicBezTo>
                  <a:pt x="264942" y="401964"/>
                  <a:pt x="304137" y="404192"/>
                  <a:pt x="330641" y="392596"/>
                </a:cubicBezTo>
                <a:cubicBezTo>
                  <a:pt x="432409" y="411099"/>
                  <a:pt x="466095" y="396687"/>
                  <a:pt x="529423" y="496956"/>
                </a:cubicBezTo>
                <a:cubicBezTo>
                  <a:pt x="548742" y="527545"/>
                  <a:pt x="549620" y="566441"/>
                  <a:pt x="559241" y="601317"/>
                </a:cubicBezTo>
                <a:cubicBezTo>
                  <a:pt x="562874" y="614485"/>
                  <a:pt x="557467" y="634046"/>
                  <a:pt x="569180" y="641074"/>
                </a:cubicBezTo>
                <a:cubicBezTo>
                  <a:pt x="587700" y="652186"/>
                  <a:pt x="612249" y="644387"/>
                  <a:pt x="633784" y="646043"/>
                </a:cubicBezTo>
                <a:cubicBezTo>
                  <a:pt x="681823" y="637761"/>
                  <a:pt x="735677" y="645556"/>
                  <a:pt x="777902" y="621196"/>
                </a:cubicBezTo>
                <a:cubicBezTo>
                  <a:pt x="826645" y="593075"/>
                  <a:pt x="881769" y="552254"/>
                  <a:pt x="892202" y="496956"/>
                </a:cubicBezTo>
                <a:cubicBezTo>
                  <a:pt x="909016" y="407840"/>
                  <a:pt x="789186" y="314268"/>
                  <a:pt x="723236" y="288235"/>
                </a:cubicBezTo>
                <a:cubicBezTo>
                  <a:pt x="696997" y="277877"/>
                  <a:pt x="666915" y="284922"/>
                  <a:pt x="638754" y="283265"/>
                </a:cubicBezTo>
                <a:cubicBezTo>
                  <a:pt x="555949" y="391947"/>
                  <a:pt x="517660" y="393450"/>
                  <a:pt x="574150" y="551622"/>
                </a:cubicBezTo>
                <a:cubicBezTo>
                  <a:pt x="582507" y="575022"/>
                  <a:pt x="613906" y="581439"/>
                  <a:pt x="633784" y="596348"/>
                </a:cubicBezTo>
                <a:cubicBezTo>
                  <a:pt x="685285" y="517582"/>
                  <a:pt x="797971" y="411909"/>
                  <a:pt x="683480" y="303143"/>
                </a:cubicBezTo>
                <a:cubicBezTo>
                  <a:pt x="643395" y="265063"/>
                  <a:pt x="574149" y="286578"/>
                  <a:pt x="519484" y="278296"/>
                </a:cubicBezTo>
                <a:cubicBezTo>
                  <a:pt x="494636" y="283265"/>
                  <a:pt x="457859" y="271404"/>
                  <a:pt x="444941" y="293204"/>
                </a:cubicBezTo>
                <a:cubicBezTo>
                  <a:pt x="380889" y="401292"/>
                  <a:pt x="467801" y="437212"/>
                  <a:pt x="529423" y="491987"/>
                </a:cubicBezTo>
                <a:cubicBezTo>
                  <a:pt x="544332" y="475422"/>
                  <a:pt x="573277" y="464560"/>
                  <a:pt x="574150" y="442291"/>
                </a:cubicBezTo>
                <a:cubicBezTo>
                  <a:pt x="581059" y="266120"/>
                  <a:pt x="505782" y="148814"/>
                  <a:pt x="390276" y="19878"/>
                </a:cubicBezTo>
                <a:cubicBezTo>
                  <a:pt x="375242" y="3096"/>
                  <a:pt x="347206" y="6626"/>
                  <a:pt x="325671" y="0"/>
                </a:cubicBezTo>
                <a:cubicBezTo>
                  <a:pt x="215268" y="68526"/>
                  <a:pt x="98152" y="120811"/>
                  <a:pt x="42406" y="253448"/>
                </a:cubicBezTo>
                <a:cubicBezTo>
                  <a:pt x="19291" y="308446"/>
                  <a:pt x="39093" y="372717"/>
                  <a:pt x="37436" y="432352"/>
                </a:cubicBezTo>
                <a:cubicBezTo>
                  <a:pt x="73880" y="465482"/>
                  <a:pt x="103582" y="508061"/>
                  <a:pt x="146767" y="531743"/>
                </a:cubicBezTo>
                <a:cubicBezTo>
                  <a:pt x="208321" y="565498"/>
                  <a:pt x="280911" y="573927"/>
                  <a:pt x="345550" y="601317"/>
                </a:cubicBezTo>
                <a:cubicBezTo>
                  <a:pt x="379036" y="615506"/>
                  <a:pt x="408497" y="637761"/>
                  <a:pt x="439971" y="655983"/>
                </a:cubicBezTo>
                <a:cubicBezTo>
                  <a:pt x="584474" y="893380"/>
                  <a:pt x="603967" y="851536"/>
                  <a:pt x="603967" y="1128091"/>
                </a:cubicBezTo>
                <a:cubicBezTo>
                  <a:pt x="603967" y="1142341"/>
                  <a:pt x="587402" y="1151282"/>
                  <a:pt x="579119" y="1162878"/>
                </a:cubicBezTo>
                <a:cubicBezTo>
                  <a:pt x="458098" y="1008852"/>
                  <a:pt x="370147" y="935049"/>
                  <a:pt x="325671" y="740465"/>
                </a:cubicBezTo>
                <a:cubicBezTo>
                  <a:pt x="315678" y="696744"/>
                  <a:pt x="315836" y="646541"/>
                  <a:pt x="335610" y="606287"/>
                </a:cubicBezTo>
                <a:cubicBezTo>
                  <a:pt x="364605" y="547262"/>
                  <a:pt x="413178" y="497917"/>
                  <a:pt x="464819" y="457200"/>
                </a:cubicBezTo>
                <a:cubicBezTo>
                  <a:pt x="501543" y="428245"/>
                  <a:pt x="548114" y="411422"/>
                  <a:pt x="594028" y="402535"/>
                </a:cubicBezTo>
                <a:cubicBezTo>
                  <a:pt x="652599" y="391199"/>
                  <a:pt x="713297" y="399222"/>
                  <a:pt x="772932" y="397565"/>
                </a:cubicBezTo>
                <a:cubicBezTo>
                  <a:pt x="801093" y="385969"/>
                  <a:pt x="836387" y="384808"/>
                  <a:pt x="857415" y="362778"/>
                </a:cubicBezTo>
                <a:cubicBezTo>
                  <a:pt x="926186" y="290733"/>
                  <a:pt x="825782" y="215897"/>
                  <a:pt x="782871" y="178904"/>
                </a:cubicBezTo>
                <a:cubicBezTo>
                  <a:pt x="769772" y="167612"/>
                  <a:pt x="749741" y="168965"/>
                  <a:pt x="733176" y="163996"/>
                </a:cubicBezTo>
                <a:cubicBezTo>
                  <a:pt x="718267" y="165652"/>
                  <a:pt x="702608" y="164010"/>
                  <a:pt x="688450" y="168965"/>
                </a:cubicBezTo>
                <a:cubicBezTo>
                  <a:pt x="605196" y="198104"/>
                  <a:pt x="630783" y="211988"/>
                  <a:pt x="608936" y="308113"/>
                </a:cubicBezTo>
                <a:cubicBezTo>
                  <a:pt x="696745" y="421010"/>
                  <a:pt x="567499" y="267013"/>
                  <a:pt x="743115" y="407504"/>
                </a:cubicBezTo>
                <a:cubicBezTo>
                  <a:pt x="756433" y="418158"/>
                  <a:pt x="759680" y="437321"/>
                  <a:pt x="767963" y="452230"/>
                </a:cubicBezTo>
                <a:cubicBezTo>
                  <a:pt x="785682" y="545256"/>
                  <a:pt x="839613" y="789671"/>
                  <a:pt x="782871" y="834887"/>
                </a:cubicBezTo>
                <a:cubicBezTo>
                  <a:pt x="700998" y="900130"/>
                  <a:pt x="574150" y="818322"/>
                  <a:pt x="469789" y="810039"/>
                </a:cubicBezTo>
                <a:cubicBezTo>
                  <a:pt x="446598" y="773596"/>
                  <a:pt x="416422" y="740750"/>
                  <a:pt x="400215" y="700709"/>
                </a:cubicBezTo>
                <a:cubicBezTo>
                  <a:pt x="387646" y="669655"/>
                  <a:pt x="373212" y="632559"/>
                  <a:pt x="385306" y="601317"/>
                </a:cubicBezTo>
                <a:cubicBezTo>
                  <a:pt x="416367" y="521076"/>
                  <a:pt x="592609" y="534938"/>
                  <a:pt x="628815" y="531743"/>
                </a:cubicBezTo>
                <a:cubicBezTo>
                  <a:pt x="716104" y="541815"/>
                  <a:pt x="746630" y="525451"/>
                  <a:pt x="802750" y="576469"/>
                </a:cubicBezTo>
                <a:cubicBezTo>
                  <a:pt x="808232" y="581452"/>
                  <a:pt x="809376" y="589722"/>
                  <a:pt x="812689" y="596348"/>
                </a:cubicBezTo>
                <a:cubicBezTo>
                  <a:pt x="740647" y="692404"/>
                  <a:pt x="745771" y="700113"/>
                  <a:pt x="589058" y="770283"/>
                </a:cubicBezTo>
                <a:cubicBezTo>
                  <a:pt x="541010" y="791797"/>
                  <a:pt x="486354" y="793474"/>
                  <a:pt x="435002" y="805069"/>
                </a:cubicBezTo>
                <a:cubicBezTo>
                  <a:pt x="386963" y="800100"/>
                  <a:pt x="337905" y="801182"/>
                  <a:pt x="290884" y="790161"/>
                </a:cubicBezTo>
                <a:cubicBezTo>
                  <a:pt x="143671" y="755658"/>
                  <a:pt x="148722" y="751708"/>
                  <a:pt x="57315" y="690769"/>
                </a:cubicBezTo>
                <a:cubicBezTo>
                  <a:pt x="40750" y="652669"/>
                  <a:pt x="15912" y="617178"/>
                  <a:pt x="7619" y="576469"/>
                </a:cubicBezTo>
                <a:cubicBezTo>
                  <a:pt x="-2636" y="526124"/>
                  <a:pt x="-623" y="473687"/>
                  <a:pt x="2650" y="422413"/>
                </a:cubicBezTo>
                <a:cubicBezTo>
                  <a:pt x="4390" y="395148"/>
                  <a:pt x="1696" y="360575"/>
                  <a:pt x="22528" y="342900"/>
                </a:cubicBezTo>
                <a:cubicBezTo>
                  <a:pt x="115243" y="264232"/>
                  <a:pt x="253057" y="278834"/>
                  <a:pt x="360458" y="273326"/>
                </a:cubicBezTo>
                <a:cubicBezTo>
                  <a:pt x="385306" y="278296"/>
                  <a:pt x="413313" y="275131"/>
                  <a:pt x="435002" y="288235"/>
                </a:cubicBezTo>
                <a:cubicBezTo>
                  <a:pt x="494568" y="324223"/>
                  <a:pt x="544315" y="374395"/>
                  <a:pt x="598997" y="417443"/>
                </a:cubicBezTo>
                <a:cubicBezTo>
                  <a:pt x="622171" y="435687"/>
                  <a:pt x="641299" y="460879"/>
                  <a:pt x="668571" y="472109"/>
                </a:cubicBezTo>
                <a:cubicBezTo>
                  <a:pt x="887147" y="562111"/>
                  <a:pt x="777357" y="532280"/>
                  <a:pt x="996563" y="566530"/>
                </a:cubicBezTo>
                <a:cubicBezTo>
                  <a:pt x="1014119" y="552875"/>
                  <a:pt x="1122163" y="492409"/>
                  <a:pt x="1110863" y="437322"/>
                </a:cubicBezTo>
                <a:cubicBezTo>
                  <a:pt x="1100888" y="388694"/>
                  <a:pt x="1067793" y="347869"/>
                  <a:pt x="1046258" y="303143"/>
                </a:cubicBezTo>
                <a:cubicBezTo>
                  <a:pt x="959831" y="379968"/>
                  <a:pt x="957483" y="360551"/>
                  <a:pt x="1021410" y="556591"/>
                </a:cubicBezTo>
                <a:cubicBezTo>
                  <a:pt x="1027266" y="574548"/>
                  <a:pt x="1057854" y="566530"/>
                  <a:pt x="1076076" y="571500"/>
                </a:cubicBezTo>
                <a:cubicBezTo>
                  <a:pt x="1137367" y="559904"/>
                  <a:pt x="1199434" y="551842"/>
                  <a:pt x="1259950" y="536713"/>
                </a:cubicBezTo>
                <a:cubicBezTo>
                  <a:pt x="1272906" y="533474"/>
                  <a:pt x="1286393" y="527264"/>
                  <a:pt x="1294736" y="516835"/>
                </a:cubicBezTo>
                <a:cubicBezTo>
                  <a:pt x="1307240" y="501205"/>
                  <a:pt x="1311301" y="480391"/>
                  <a:pt x="1319584" y="462169"/>
                </a:cubicBezTo>
                <a:cubicBezTo>
                  <a:pt x="1321241" y="442291"/>
                  <a:pt x="1321974" y="422314"/>
                  <a:pt x="1324554" y="402535"/>
                </a:cubicBezTo>
                <a:cubicBezTo>
                  <a:pt x="1326950" y="384170"/>
                  <a:pt x="1338374" y="365979"/>
                  <a:pt x="1334493" y="347869"/>
                </a:cubicBezTo>
                <a:cubicBezTo>
                  <a:pt x="1332469" y="338424"/>
                  <a:pt x="1317928" y="337930"/>
                  <a:pt x="1309645" y="332961"/>
                </a:cubicBezTo>
                <a:cubicBezTo>
                  <a:pt x="1294736" y="342900"/>
                  <a:pt x="1264359" y="344869"/>
                  <a:pt x="1264919" y="362778"/>
                </a:cubicBezTo>
                <a:cubicBezTo>
                  <a:pt x="1268436" y="475325"/>
                  <a:pt x="1289302" y="477522"/>
                  <a:pt x="1349402" y="511865"/>
                </a:cubicBezTo>
                <a:cubicBezTo>
                  <a:pt x="1371384" y="508725"/>
                  <a:pt x="1431884" y="491154"/>
                  <a:pt x="1458732" y="511865"/>
                </a:cubicBezTo>
                <a:cubicBezTo>
                  <a:pt x="1657988" y="665577"/>
                  <a:pt x="1527749" y="610040"/>
                  <a:pt x="1617758" y="646043"/>
                </a:cubicBezTo>
                <a:cubicBezTo>
                  <a:pt x="1615281" y="646626"/>
                  <a:pt x="1498957" y="678158"/>
                  <a:pt x="1478610" y="670891"/>
                </a:cubicBezTo>
                <a:cubicBezTo>
                  <a:pt x="1447022" y="659610"/>
                  <a:pt x="1422289" y="634448"/>
                  <a:pt x="1394128" y="616226"/>
                </a:cubicBezTo>
                <a:cubicBezTo>
                  <a:pt x="1387502" y="604630"/>
                  <a:pt x="1373670" y="594782"/>
                  <a:pt x="1374250" y="581439"/>
                </a:cubicBezTo>
                <a:cubicBezTo>
                  <a:pt x="1375456" y="553697"/>
                  <a:pt x="1379809" y="521903"/>
                  <a:pt x="1399097" y="501926"/>
                </a:cubicBezTo>
                <a:cubicBezTo>
                  <a:pt x="1471629" y="426803"/>
                  <a:pt x="1568801" y="428088"/>
                  <a:pt x="1662484" y="412474"/>
                </a:cubicBezTo>
                <a:cubicBezTo>
                  <a:pt x="1675736" y="404191"/>
                  <a:pt x="1701374" y="403230"/>
                  <a:pt x="1702241" y="387626"/>
                </a:cubicBezTo>
                <a:cubicBezTo>
                  <a:pt x="1705958" y="320720"/>
                  <a:pt x="1649159" y="316923"/>
                  <a:pt x="1607819" y="303143"/>
                </a:cubicBezTo>
                <a:cubicBezTo>
                  <a:pt x="1592910" y="304800"/>
                  <a:pt x="1574036" y="297854"/>
                  <a:pt x="1563093" y="308113"/>
                </a:cubicBezTo>
                <a:cubicBezTo>
                  <a:pt x="1490151" y="376497"/>
                  <a:pt x="1546451" y="454946"/>
                  <a:pt x="1597880" y="521804"/>
                </a:cubicBezTo>
                <a:cubicBezTo>
                  <a:pt x="1673275" y="619818"/>
                  <a:pt x="1927978" y="584029"/>
                  <a:pt x="1975567" y="586409"/>
                </a:cubicBezTo>
                <a:cubicBezTo>
                  <a:pt x="1998758" y="584752"/>
                  <a:pt x="2027643" y="596750"/>
                  <a:pt x="2045141" y="581439"/>
                </a:cubicBezTo>
                <a:cubicBezTo>
                  <a:pt x="2048900" y="578150"/>
                  <a:pt x="2058499" y="486069"/>
                  <a:pt x="2060050" y="472109"/>
                </a:cubicBezTo>
                <a:cubicBezTo>
                  <a:pt x="2141099" y="495266"/>
                  <a:pt x="2158876" y="496156"/>
                  <a:pt x="2243923" y="546652"/>
                </a:cubicBezTo>
                <a:cubicBezTo>
                  <a:pt x="2261075" y="556836"/>
                  <a:pt x="2273741" y="573157"/>
                  <a:pt x="2288650" y="586409"/>
                </a:cubicBezTo>
                <a:cubicBezTo>
                  <a:pt x="2282024" y="611257"/>
                  <a:pt x="2293497" y="668017"/>
                  <a:pt x="2268771" y="660952"/>
                </a:cubicBezTo>
                <a:cubicBezTo>
                  <a:pt x="2241275" y="653095"/>
                  <a:pt x="2250789" y="604899"/>
                  <a:pt x="2253863" y="576469"/>
                </a:cubicBezTo>
                <a:cubicBezTo>
                  <a:pt x="2259210" y="527014"/>
                  <a:pt x="2282854" y="465791"/>
                  <a:pt x="2328406" y="437322"/>
                </a:cubicBezTo>
                <a:cubicBezTo>
                  <a:pt x="2339990" y="430082"/>
                  <a:pt x="2354911" y="430696"/>
                  <a:pt x="2368163" y="427383"/>
                </a:cubicBezTo>
                <a:cubicBezTo>
                  <a:pt x="2432248" y="435393"/>
                  <a:pt x="2418650" y="425430"/>
                  <a:pt x="2477493" y="501926"/>
                </a:cubicBezTo>
                <a:cubicBezTo>
                  <a:pt x="2491734" y="520440"/>
                  <a:pt x="2503124" y="568361"/>
                  <a:pt x="2527189" y="586409"/>
                </a:cubicBezTo>
                <a:cubicBezTo>
                  <a:pt x="2532653" y="590507"/>
                  <a:pt x="2540441" y="589722"/>
                  <a:pt x="2547067" y="591378"/>
                </a:cubicBezTo>
                <a:cubicBezTo>
                  <a:pt x="2575228" y="561561"/>
                  <a:pt x="2602549" y="530927"/>
                  <a:pt x="2631550" y="501926"/>
                </a:cubicBezTo>
                <a:cubicBezTo>
                  <a:pt x="2639050" y="494426"/>
                  <a:pt x="2645795" y="481727"/>
                  <a:pt x="2656397" y="482048"/>
                </a:cubicBezTo>
                <a:cubicBezTo>
                  <a:pt x="2703492" y="483475"/>
                  <a:pt x="2749162" y="498613"/>
                  <a:pt x="2795545" y="506896"/>
                </a:cubicBezTo>
                <a:cubicBezTo>
                  <a:pt x="2803155" y="509940"/>
                  <a:pt x="2824909" y="519206"/>
                  <a:pt x="2835302" y="521804"/>
                </a:cubicBezTo>
                <a:cubicBezTo>
                  <a:pt x="2843497" y="523853"/>
                  <a:pt x="2851867" y="525117"/>
                  <a:pt x="2860150" y="526774"/>
                </a:cubicBezTo>
                <a:cubicBezTo>
                  <a:pt x="2878372" y="523461"/>
                  <a:pt x="2896848" y="521327"/>
                  <a:pt x="2914815" y="516835"/>
                </a:cubicBezTo>
                <a:cubicBezTo>
                  <a:pt x="2936673" y="511370"/>
                  <a:pt x="2957026" y="499444"/>
                  <a:pt x="2979419" y="496956"/>
                </a:cubicBezTo>
                <a:cubicBezTo>
                  <a:pt x="3002527" y="494388"/>
                  <a:pt x="3025802" y="500269"/>
                  <a:pt x="3048993" y="501926"/>
                </a:cubicBezTo>
                <a:cubicBezTo>
                  <a:pt x="3063902" y="508552"/>
                  <a:pt x="3080144" y="512754"/>
                  <a:pt x="3093719" y="521804"/>
                </a:cubicBezTo>
                <a:cubicBezTo>
                  <a:pt x="3105414" y="529601"/>
                  <a:pt x="3112657" y="542721"/>
                  <a:pt x="3123536" y="551622"/>
                </a:cubicBezTo>
                <a:cubicBezTo>
                  <a:pt x="3131012" y="557738"/>
                  <a:pt x="3140193" y="561411"/>
                  <a:pt x="3148384" y="566530"/>
                </a:cubicBezTo>
                <a:cubicBezTo>
                  <a:pt x="3165869" y="577458"/>
                  <a:pt x="3168399" y="583039"/>
                  <a:pt x="3193110" y="586409"/>
                </a:cubicBezTo>
                <a:cubicBezTo>
                  <a:pt x="3219423" y="589997"/>
                  <a:pt x="3246119" y="589722"/>
                  <a:pt x="3272623" y="591378"/>
                </a:cubicBezTo>
                <a:cubicBezTo>
                  <a:pt x="3304532" y="597180"/>
                  <a:pt x="3332025" y="600328"/>
                  <a:pt x="3362076" y="611256"/>
                </a:cubicBezTo>
                <a:cubicBezTo>
                  <a:pt x="3419244" y="632045"/>
                  <a:pt x="3346020" y="612213"/>
                  <a:pt x="3401832" y="626165"/>
                </a:cubicBezTo>
                <a:cubicBezTo>
                  <a:pt x="3411771" y="632791"/>
                  <a:pt x="3420966" y="640701"/>
                  <a:pt x="3431650" y="646043"/>
                </a:cubicBezTo>
                <a:cubicBezTo>
                  <a:pt x="3437759" y="649097"/>
                  <a:pt x="3444699" y="651142"/>
                  <a:pt x="3451528" y="651013"/>
                </a:cubicBezTo>
                <a:cubicBezTo>
                  <a:pt x="3532750" y="649481"/>
                  <a:pt x="3613814" y="642616"/>
                  <a:pt x="3695036" y="641074"/>
                </a:cubicBezTo>
                <a:cubicBezTo>
                  <a:pt x="4052034" y="634295"/>
                  <a:pt x="4472963" y="636104"/>
                  <a:pt x="4828097" y="636104"/>
                </a:cubicBez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10F53C4F-043D-FC6C-0D91-09AB9E847EB2}"/>
              </a:ext>
            </a:extLst>
          </p:cNvPr>
          <p:cNvCxnSpPr>
            <a:cxnSpLocks/>
            <a:stCxn id="21" idx="127"/>
          </p:cNvCxnSpPr>
          <p:nvPr/>
        </p:nvCxnSpPr>
        <p:spPr>
          <a:xfrm>
            <a:off x="6778487" y="1851279"/>
            <a:ext cx="3770204" cy="236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407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5A1C3-910C-9E95-A1F0-65F2C698C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Logo">
            <a:extLst>
              <a:ext uri="{FF2B5EF4-FFF2-40B4-BE49-F238E27FC236}">
                <a16:creationId xmlns:a16="http://schemas.microsoft.com/office/drawing/2014/main" id="{68B70D22-E6FF-8D79-77B0-FADD1FF296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90DA54C6-B072-2360-E99B-377263CB9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7" name="Pill">
            <a:extLst>
              <a:ext uri="{FF2B5EF4-FFF2-40B4-BE49-F238E27FC236}">
                <a16:creationId xmlns:a16="http://schemas.microsoft.com/office/drawing/2014/main" id="{21F37389-FCDC-84BF-6C20-2C2CC120E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7555253-5A00-A47E-A7FB-C3CABAAC30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gray">
          <a:xfrm>
            <a:off x="308626" y="2511508"/>
            <a:ext cx="840489" cy="792000"/>
          </a:xfrm>
          <a:prstGeom prst="rect">
            <a:avLst/>
          </a:prstGeom>
        </p:spPr>
      </p:pic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E31FC60C-4CDD-FCB8-DCF1-BA41316C2DB0}"/>
              </a:ext>
            </a:extLst>
          </p:cNvPr>
          <p:cNvSpPr txBox="1">
            <a:spLocks/>
          </p:cNvSpPr>
          <p:nvPr/>
        </p:nvSpPr>
        <p:spPr bwMode="gray">
          <a:xfrm>
            <a:off x="1056001" y="2420888"/>
            <a:ext cx="10080312" cy="3744112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5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400" dirty="0"/>
              <a:t>Verkehr als cyberphysisches System (CPS) betrachtet das Gesamtsystem von der digitalen Steuerung über dessen Verknüpfung mit physischen Prozessen durch Sensoren, Aktoren und vernetzte Rechenkomponenten.</a:t>
            </a:r>
            <a:endParaRPr lang="en-GB" sz="44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FFF80C1-E356-8915-B856-4BEC57322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5</a:t>
            </a:fld>
            <a:endParaRPr lang="en-GB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789BB23-ABCF-BF88-C804-6377C9D159F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39892"/>
          <a:stretch>
            <a:fillRect/>
          </a:stretch>
        </p:blipFill>
        <p:spPr>
          <a:xfrm>
            <a:off x="4759474" y="613857"/>
            <a:ext cx="3589397" cy="146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9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2DB36-F7B8-F26A-50AC-6007B0D77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Logo">
            <a:extLst>
              <a:ext uri="{FF2B5EF4-FFF2-40B4-BE49-F238E27FC236}">
                <a16:creationId xmlns:a16="http://schemas.microsoft.com/office/drawing/2014/main" id="{78247967-E18D-8FB9-D88E-1FCA98150D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1322000" y="6414338"/>
            <a:ext cx="532705" cy="210187"/>
          </a:xfrm>
          <a:prstGeom prst="rect">
            <a:avLst/>
          </a:prstGeom>
        </p:spPr>
      </p:pic>
      <p:pic>
        <p:nvPicPr>
          <p:cNvPr id="13" name="Pill">
            <a:extLst>
              <a:ext uri="{FF2B5EF4-FFF2-40B4-BE49-F238E27FC236}">
                <a16:creationId xmlns:a16="http://schemas.microsoft.com/office/drawing/2014/main" id="{EA5307A4-6964-4B66-549A-66136FD6C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07988" y="613857"/>
            <a:ext cx="432000" cy="197485"/>
          </a:xfrm>
          <a:prstGeom prst="rect">
            <a:avLst/>
          </a:prstGeom>
        </p:spPr>
      </p:pic>
      <p:pic>
        <p:nvPicPr>
          <p:cNvPr id="17" name="Pill">
            <a:extLst>
              <a:ext uri="{FF2B5EF4-FFF2-40B4-BE49-F238E27FC236}">
                <a16:creationId xmlns:a16="http://schemas.microsoft.com/office/drawing/2014/main" id="{EB1DED28-842E-C9E2-D907-45E36CDF3D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6155900" y="6481979"/>
            <a:ext cx="216000" cy="98743"/>
          </a:xfrm>
          <a:prstGeom prst="rect">
            <a:avLst/>
          </a:prstGeom>
        </p:spPr>
      </p:pic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DC061018-A3AD-2436-556C-4E28D7E21330}"/>
              </a:ext>
            </a:extLst>
          </p:cNvPr>
          <p:cNvSpPr txBox="1">
            <a:spLocks/>
          </p:cNvSpPr>
          <p:nvPr/>
        </p:nvSpPr>
        <p:spPr bwMode="gray">
          <a:xfrm>
            <a:off x="1056001" y="1794014"/>
            <a:ext cx="10080312" cy="43709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5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400" dirty="0"/>
              <a:t>Derzeit sind viele Entwicklungen im Silodenken verhaftet. Nicht unbedingt durch die Unfähigkeit eines Perspektivwechsels, sondern viel mehr durch den hohen Anspruch an die (technologische) Expertise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B838D0-88E4-54AC-E4D1-390067E83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408000" y="6453000"/>
            <a:ext cx="360000" cy="144000"/>
          </a:xfrm>
        </p:spPr>
        <p:txBody>
          <a:bodyPr/>
          <a:lstStyle/>
          <a:p>
            <a:fld id="{8FF9B0DE-3FEB-4AA0-B465-B80EF7C1333D}" type="slidenum">
              <a:rPr lang="en-GB" noProof="0" smtClean="0"/>
              <a:pPr/>
              <a:t>6</a:t>
            </a:fld>
            <a:endParaRPr lang="en-GB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B16FC98-8364-0BD6-2C24-33FBB4B2E3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gray">
          <a:xfrm>
            <a:off x="347755" y="1900251"/>
            <a:ext cx="840489" cy="79200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BF6F01-6A18-BA39-3DE2-1365B90DED55}"/>
              </a:ext>
            </a:extLst>
          </p:cNvPr>
          <p:cNvCxnSpPr>
            <a:cxnSpLocks/>
          </p:cNvCxnSpPr>
          <p:nvPr/>
        </p:nvCxnSpPr>
        <p:spPr>
          <a:xfrm>
            <a:off x="3692387" y="1324505"/>
            <a:ext cx="4765813" cy="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13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F8990-D720-1FC1-752C-995EA21F4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CA5A3AF0-0CA6-28FF-657A-3628C61480DD}"/>
              </a:ext>
            </a:extLst>
          </p:cNvPr>
          <p:cNvSpPr/>
          <p:nvPr/>
        </p:nvSpPr>
        <p:spPr>
          <a:xfrm>
            <a:off x="3409949" y="2743200"/>
            <a:ext cx="5372100" cy="2385059"/>
          </a:xfrm>
          <a:prstGeom prst="roundRect">
            <a:avLst>
              <a:gd name="adj" fmla="val 50000"/>
            </a:avLst>
          </a:prstGeom>
          <a:noFill/>
          <a:ln>
            <a:solidFill>
              <a:srgbClr val="F4AF89">
                <a:alpha val="41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>
              <a:latin typeface="Fira Sans" panose="020B05030500000200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B23ADDC3-5A6A-43DA-8C89-2AE05D834811}"/>
              </a:ext>
            </a:extLst>
          </p:cNvPr>
          <p:cNvSpPr/>
          <p:nvPr/>
        </p:nvSpPr>
        <p:spPr>
          <a:xfrm>
            <a:off x="4020456" y="3181712"/>
            <a:ext cx="4151086" cy="1471385"/>
          </a:xfrm>
          <a:prstGeom prst="roundRect">
            <a:avLst>
              <a:gd name="adj" fmla="val 50000"/>
            </a:avLst>
          </a:prstGeom>
          <a:noFill/>
          <a:ln>
            <a:solidFill>
              <a:srgbClr val="F4AF89">
                <a:alpha val="61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>
              <a:latin typeface="Fira Sans" panose="020B05030500000200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FBA74A2F-FDBF-D991-F14C-D44F771D1EF7}"/>
              </a:ext>
            </a:extLst>
          </p:cNvPr>
          <p:cNvSpPr/>
          <p:nvPr/>
        </p:nvSpPr>
        <p:spPr>
          <a:xfrm>
            <a:off x="2893694" y="2324100"/>
            <a:ext cx="6404610" cy="3261360"/>
          </a:xfrm>
          <a:prstGeom prst="roundRect">
            <a:avLst>
              <a:gd name="adj" fmla="val 50000"/>
            </a:avLst>
          </a:prstGeom>
          <a:noFill/>
          <a:ln>
            <a:solidFill>
              <a:srgbClr val="F4AF89">
                <a:alpha val="21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>
              <a:latin typeface="Fira Sans" panose="020B05030500000200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3E40635-E139-B9BD-A15D-04F02986DBCE}"/>
              </a:ext>
            </a:extLst>
          </p:cNvPr>
          <p:cNvSpPr/>
          <p:nvPr/>
        </p:nvSpPr>
        <p:spPr>
          <a:xfrm>
            <a:off x="2254567" y="1882140"/>
            <a:ext cx="7682865" cy="4213860"/>
          </a:xfrm>
          <a:prstGeom prst="roundRect">
            <a:avLst>
              <a:gd name="adj" fmla="val 50000"/>
            </a:avLst>
          </a:prstGeom>
          <a:noFill/>
          <a:ln>
            <a:solidFill>
              <a:srgbClr val="F4AF89">
                <a:alpha val="13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>
              <a:latin typeface="Fira Sans" panose="020B05030500000200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8B4A869-33E0-DCB5-FC36-8510EB6C31E2}"/>
              </a:ext>
            </a:extLst>
          </p:cNvPr>
          <p:cNvSpPr/>
          <p:nvPr/>
        </p:nvSpPr>
        <p:spPr>
          <a:xfrm>
            <a:off x="1544002" y="1402080"/>
            <a:ext cx="9103995" cy="5173979"/>
          </a:xfrm>
          <a:prstGeom prst="roundRect">
            <a:avLst>
              <a:gd name="adj" fmla="val 50000"/>
            </a:avLst>
          </a:prstGeom>
          <a:noFill/>
          <a:ln>
            <a:solidFill>
              <a:srgbClr val="F4AF89">
                <a:alpha val="1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>
              <a:latin typeface="Fira Sans" panose="020B05030500000200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4CD188D-6995-84D2-66DC-6FE8E0EAB320}"/>
              </a:ext>
            </a:extLst>
          </p:cNvPr>
          <p:cNvSpPr/>
          <p:nvPr/>
        </p:nvSpPr>
        <p:spPr>
          <a:xfrm>
            <a:off x="8561180" y="3158961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Car2X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E5B99BA6-B026-612D-8EF5-E5B04AF4055E}"/>
              </a:ext>
            </a:extLst>
          </p:cNvPr>
          <p:cNvSpPr/>
          <p:nvPr/>
        </p:nvSpPr>
        <p:spPr>
          <a:xfrm>
            <a:off x="4584041" y="3571852"/>
            <a:ext cx="3011715" cy="684797"/>
          </a:xfrm>
          <a:prstGeom prst="roundRect">
            <a:avLst>
              <a:gd name="adj" fmla="val 50000"/>
            </a:avLst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998" cap="flat">
            <a:noFill/>
            <a:prstDash val="solid"/>
            <a:miter/>
          </a:ln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None/>
            </a:pPr>
            <a:r>
              <a:rPr lang="de-DE" sz="2200" b="1" dirty="0">
                <a:solidFill>
                  <a:schemeClr val="bg1"/>
                </a:solidFill>
              </a:rPr>
              <a:t>adesso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D78BF7C-305F-9F7C-E5F8-41A005F0CEFC}"/>
              </a:ext>
            </a:extLst>
          </p:cNvPr>
          <p:cNvSpPr/>
          <p:nvPr/>
        </p:nvSpPr>
        <p:spPr>
          <a:xfrm>
            <a:off x="7240177" y="4666771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Public – Smart City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82AFEE1-13CA-529D-B8FA-CDFDFBC074A6}"/>
              </a:ext>
            </a:extLst>
          </p:cNvPr>
          <p:cNvSpPr/>
          <p:nvPr/>
        </p:nvSpPr>
        <p:spPr>
          <a:xfrm>
            <a:off x="4894386" y="1024712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Intra-Logistik in der Produktion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690F15A-E3D5-AA63-48AC-9D5C5E996F09}"/>
              </a:ext>
            </a:extLst>
          </p:cNvPr>
          <p:cNvSpPr/>
          <p:nvPr/>
        </p:nvSpPr>
        <p:spPr>
          <a:xfrm>
            <a:off x="8898290" y="1647453"/>
            <a:ext cx="1432594" cy="140222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IoT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425C4F6-8C7D-FF72-0CBE-A319530E2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7" y="512676"/>
            <a:ext cx="10728000" cy="544043"/>
          </a:xfrm>
        </p:spPr>
        <p:txBody>
          <a:bodyPr/>
          <a:lstStyle/>
          <a:p>
            <a:r>
              <a:rPr lang="en-GB" dirty="0"/>
              <a:t>Kurze Reise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Themenfelder</a:t>
            </a:r>
            <a:r>
              <a:rPr lang="en-GB" dirty="0"/>
              <a:t> 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120DAA-233D-56B6-6867-0211E0644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00252-63E7-4240-86F3-6BA42DE0C288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F0FF6EC-B4E9-EA0C-1A6C-A28BF608FE20}"/>
              </a:ext>
            </a:extLst>
          </p:cNvPr>
          <p:cNvSpPr/>
          <p:nvPr/>
        </p:nvSpPr>
        <p:spPr>
          <a:xfrm>
            <a:off x="5113037" y="4961445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IT-</a:t>
            </a:r>
            <a:r>
              <a:rPr lang="en-US" dirty="0" err="1"/>
              <a:t>Lösungen</a:t>
            </a:r>
            <a:r>
              <a:rPr lang="en-US" dirty="0"/>
              <a:t> ÖPNV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166433B-FB31-BE25-8C62-68FB6EC26BA5}"/>
              </a:ext>
            </a:extLst>
          </p:cNvPr>
          <p:cNvSpPr/>
          <p:nvPr/>
        </p:nvSpPr>
        <p:spPr>
          <a:xfrm>
            <a:off x="7010669" y="1446859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Smart </a:t>
            </a:r>
            <a:r>
              <a:rPr lang="de-DE" dirty="0" err="1"/>
              <a:t>Grid</a:t>
            </a:r>
            <a:r>
              <a:rPr lang="de-DE" dirty="0"/>
              <a:t> und Vehicle2Grid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E5B05E63-C190-D5AE-EE94-0CDE3DDE1902}"/>
              </a:ext>
            </a:extLst>
          </p:cNvPr>
          <p:cNvSpPr/>
          <p:nvPr/>
        </p:nvSpPr>
        <p:spPr>
          <a:xfrm>
            <a:off x="1861115" y="2517684"/>
            <a:ext cx="1482046" cy="1471385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Automotive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68649AEE-1301-F9B7-FEB3-2775F925B18C}"/>
              </a:ext>
            </a:extLst>
          </p:cNvPr>
          <p:cNvSpPr/>
          <p:nvPr/>
        </p:nvSpPr>
        <p:spPr>
          <a:xfrm>
            <a:off x="2783802" y="4296000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Datenräume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61E11B1C-1ED7-5A23-0C3C-F3515D939314}"/>
              </a:ext>
            </a:extLst>
          </p:cNvPr>
          <p:cNvSpPr/>
          <p:nvPr/>
        </p:nvSpPr>
        <p:spPr>
          <a:xfrm>
            <a:off x="3182912" y="1107370"/>
            <a:ext cx="1482046" cy="1471385"/>
          </a:xfrm>
          <a:prstGeom prst="ellipse">
            <a:avLst/>
          </a:prstGeom>
          <a:gradFill flip="none" rotWithShape="1">
            <a:gsLst>
              <a:gs pos="0">
                <a:srgbClr val="6CBDA8"/>
              </a:gs>
              <a:gs pos="75000">
                <a:srgbClr val="1374C4"/>
              </a:gs>
              <a:gs pos="100000">
                <a:srgbClr val="2679C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dirty="0"/>
              <a:t>Trans-</a:t>
            </a:r>
            <a:r>
              <a:rPr lang="de-DE" dirty="0" err="1"/>
              <a:t>por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259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0B3C51-759C-AAB1-76DE-B7F575C06A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49A9C72E-4827-9D39-2C72-31A9B0C4C5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53"/>
            <a:ext cx="12192001" cy="687223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A0EA6B0-2086-39E2-0985-95D0E5F77E43}"/>
              </a:ext>
            </a:extLst>
          </p:cNvPr>
          <p:cNvSpPr/>
          <p:nvPr/>
        </p:nvSpPr>
        <p:spPr>
          <a:xfrm>
            <a:off x="-1" y="53"/>
            <a:ext cx="12192001" cy="6872231"/>
          </a:xfrm>
          <a:prstGeom prst="rect">
            <a:avLst/>
          </a:prstGeom>
          <a:gradFill>
            <a:gsLst>
              <a:gs pos="0">
                <a:schemeClr val="accent1">
                  <a:alpha val="49000"/>
                </a:schemeClr>
              </a:gs>
              <a:gs pos="86000">
                <a:schemeClr val="accent1">
                  <a:alpha val="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82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8E74691C-C78D-5AA2-2E12-63A0755CE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1018648"/>
            <a:ext cx="12192000" cy="583935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AE1C4E6-235D-1DCF-0D88-B068F5BE46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567A893-9FBC-1417-7D94-9AE0E99A32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815EB3-8629-57D9-5ADC-61F7B5012D6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FE429DB-6BD1-265C-FE24-0001C71B6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00252-63E7-4240-86F3-6BA42DE0C288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B6B41E1-0865-29DD-C52E-E582FD5506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0" y="1733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0" imgH="481" progId="TCLayout.ActiveDocument.1">
                  <p:embed/>
                </p:oleObj>
              </mc:Choice>
              <mc:Fallback>
                <p:oleObj name="think-cell Folie" r:id="rId5" imgW="480" imgH="4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B6B41E1-0865-29DD-C52E-E582FD550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733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4">
            <a:extLst>
              <a:ext uri="{FF2B5EF4-FFF2-40B4-BE49-F238E27FC236}">
                <a16:creationId xmlns:a16="http://schemas.microsoft.com/office/drawing/2014/main" id="{98FF5A10-E055-26A5-8412-D087C29137E8}"/>
              </a:ext>
            </a:extLst>
          </p:cNvPr>
          <p:cNvSpPr txBox="1">
            <a:spLocks/>
          </p:cNvSpPr>
          <p:nvPr/>
        </p:nvSpPr>
        <p:spPr bwMode="gray">
          <a:xfrm>
            <a:off x="1056356" y="470779"/>
            <a:ext cx="10266843" cy="582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  <a:buClrTx/>
            </a:pPr>
            <a:r>
              <a:rPr lang="en-GB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as </a:t>
            </a:r>
            <a:r>
              <a:rPr lang="en-GB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Universum</a:t>
            </a:r>
            <a:r>
              <a:rPr lang="en-GB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des </a:t>
            </a:r>
            <a:r>
              <a:rPr lang="en-GB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cyberphysischen</a:t>
            </a:r>
            <a:r>
              <a:rPr lang="en-GB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Systems Verkeh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1737747-48F7-3F97-680D-E20D1C665BA0}"/>
              </a:ext>
            </a:extLst>
          </p:cNvPr>
          <p:cNvSpPr txBox="1"/>
          <p:nvPr/>
        </p:nvSpPr>
        <p:spPr>
          <a:xfrm>
            <a:off x="2817814" y="2987875"/>
            <a:ext cx="37029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KI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28EC50-71DE-1932-0201-EE63FACBCE33}"/>
              </a:ext>
            </a:extLst>
          </p:cNvPr>
          <p:cNvSpPr txBox="1"/>
          <p:nvPr/>
        </p:nvSpPr>
        <p:spPr>
          <a:xfrm>
            <a:off x="1933763" y="2014685"/>
            <a:ext cx="562655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Io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2434A9A-46D1-5016-5E85-47D84BE45BD8}"/>
              </a:ext>
            </a:extLst>
          </p:cNvPr>
          <p:cNvSpPr txBox="1"/>
          <p:nvPr/>
        </p:nvSpPr>
        <p:spPr>
          <a:xfrm>
            <a:off x="276639" y="1469111"/>
            <a:ext cx="378469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Quantenoptimierung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A1DB1B7-0FB4-A140-D9D1-956890D66CB7}"/>
              </a:ext>
            </a:extLst>
          </p:cNvPr>
          <p:cNvSpPr txBox="1"/>
          <p:nvPr/>
        </p:nvSpPr>
        <p:spPr>
          <a:xfrm>
            <a:off x="4390265" y="4754337"/>
            <a:ext cx="440345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Quantenkommunikat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AE9B108-A2C8-AF6B-EE72-DEB9E29C0672}"/>
              </a:ext>
            </a:extLst>
          </p:cNvPr>
          <p:cNvSpPr txBox="1"/>
          <p:nvPr/>
        </p:nvSpPr>
        <p:spPr>
          <a:xfrm>
            <a:off x="6031970" y="1804254"/>
            <a:ext cx="302166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utomatisier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0439FD8-96E5-0B88-9B6C-C39F4C76EBFA}"/>
              </a:ext>
            </a:extLst>
          </p:cNvPr>
          <p:cNvSpPr txBox="1"/>
          <p:nvPr/>
        </p:nvSpPr>
        <p:spPr>
          <a:xfrm>
            <a:off x="3945377" y="3074754"/>
            <a:ext cx="1434688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Robotik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1E4EBF3-B597-FB7F-939D-E2C5CFAA4A75}"/>
              </a:ext>
            </a:extLst>
          </p:cNvPr>
          <p:cNvSpPr txBox="1"/>
          <p:nvPr/>
        </p:nvSpPr>
        <p:spPr>
          <a:xfrm>
            <a:off x="7452550" y="3084459"/>
            <a:ext cx="2237792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Datenräum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47784A9-1677-5F2D-D89B-3A94843FFF84}"/>
              </a:ext>
            </a:extLst>
          </p:cNvPr>
          <p:cNvSpPr txBox="1"/>
          <p:nvPr/>
        </p:nvSpPr>
        <p:spPr>
          <a:xfrm>
            <a:off x="7926436" y="4125922"/>
            <a:ext cx="339676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utonomes Fahre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47FF948-1B69-B7B1-BEED-16E8E8D0C313}"/>
              </a:ext>
            </a:extLst>
          </p:cNvPr>
          <p:cNvSpPr txBox="1"/>
          <p:nvPr/>
        </p:nvSpPr>
        <p:spPr>
          <a:xfrm>
            <a:off x="2124317" y="3799373"/>
            <a:ext cx="477214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Softwar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efin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Vehicle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CD915EA-1E5A-1DE7-F3C1-FFBE5D672FD1}"/>
              </a:ext>
            </a:extLst>
          </p:cNvPr>
          <p:cNvSpPr txBox="1"/>
          <p:nvPr/>
        </p:nvSpPr>
        <p:spPr>
          <a:xfrm>
            <a:off x="175591" y="5007316"/>
            <a:ext cx="380552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Intermodale Planung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17BD329-36D2-2CEF-0937-6CE68904DABD}"/>
              </a:ext>
            </a:extLst>
          </p:cNvPr>
          <p:cNvSpPr txBox="1"/>
          <p:nvPr/>
        </p:nvSpPr>
        <p:spPr>
          <a:xfrm>
            <a:off x="9032508" y="2322497"/>
            <a:ext cx="2290692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Vehicle2Grid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F46A1EA-9713-C8AE-910D-9E858D16FCDE}"/>
              </a:ext>
            </a:extLst>
          </p:cNvPr>
          <p:cNvSpPr txBox="1"/>
          <p:nvPr/>
        </p:nvSpPr>
        <p:spPr>
          <a:xfrm>
            <a:off x="407988" y="3147150"/>
            <a:ext cx="188352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Smart City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A025A31-74D1-9C19-9C93-73F76E231E72}"/>
              </a:ext>
            </a:extLst>
          </p:cNvPr>
          <p:cNvSpPr txBox="1"/>
          <p:nvPr/>
        </p:nvSpPr>
        <p:spPr>
          <a:xfrm>
            <a:off x="9543223" y="5230351"/>
            <a:ext cx="116057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R/VR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E2161FD-74CE-5389-9B2D-C6DFB682CC3D}"/>
              </a:ext>
            </a:extLst>
          </p:cNvPr>
          <p:cNvSpPr txBox="1"/>
          <p:nvPr/>
        </p:nvSpPr>
        <p:spPr>
          <a:xfrm>
            <a:off x="2802563" y="1975173"/>
            <a:ext cx="278121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Schwammstad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3CFBFA-4880-8978-02E0-AB00CA790465}"/>
              </a:ext>
            </a:extLst>
          </p:cNvPr>
          <p:cNvSpPr txBox="1"/>
          <p:nvPr/>
        </p:nvSpPr>
        <p:spPr>
          <a:xfrm>
            <a:off x="5300598" y="3381269"/>
            <a:ext cx="203902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Zero </a:t>
            </a:r>
            <a:r>
              <a:rPr lang="de-DE" dirty="0" err="1">
                <a:solidFill>
                  <a:schemeClr val="accent4"/>
                </a:solidFill>
              </a:rPr>
              <a:t>Waste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B93E4AB-2CD1-8BB0-6F68-063EEB771B86}"/>
              </a:ext>
            </a:extLst>
          </p:cNvPr>
          <p:cNvSpPr txBox="1"/>
          <p:nvPr/>
        </p:nvSpPr>
        <p:spPr>
          <a:xfrm>
            <a:off x="5518584" y="5077047"/>
            <a:ext cx="3776675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Autofreie Innenstadt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6E0D507D-52DD-6A79-4BC4-9A8B673BF0B2}"/>
              </a:ext>
            </a:extLst>
          </p:cNvPr>
          <p:cNvSpPr txBox="1"/>
          <p:nvPr/>
        </p:nvSpPr>
        <p:spPr>
          <a:xfrm>
            <a:off x="1314609" y="4367190"/>
            <a:ext cx="4967707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Anspruch an Reise-Comfo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4A2FBE2-0E0C-FC39-5A8C-6E628EAAC5B4}"/>
              </a:ext>
            </a:extLst>
          </p:cNvPr>
          <p:cNvSpPr txBox="1"/>
          <p:nvPr/>
        </p:nvSpPr>
        <p:spPr>
          <a:xfrm>
            <a:off x="7688339" y="2749969"/>
            <a:ext cx="4095673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Barrierefreie Mobilitä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4C85A10F-1111-D7B3-E33C-D7FF56EAC833}"/>
              </a:ext>
            </a:extLst>
          </p:cNvPr>
          <p:cNvSpPr txBox="1"/>
          <p:nvPr/>
        </p:nvSpPr>
        <p:spPr>
          <a:xfrm>
            <a:off x="7636451" y="3721820"/>
            <a:ext cx="2181687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Lieferungen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880CE24-C213-6A95-8BDF-1763C8DAE783}"/>
              </a:ext>
            </a:extLst>
          </p:cNvPr>
          <p:cNvSpPr txBox="1"/>
          <p:nvPr/>
        </p:nvSpPr>
        <p:spPr>
          <a:xfrm>
            <a:off x="2985305" y="1079653"/>
            <a:ext cx="222817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Regionalitä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FE332ED-4E1B-DB7D-6FFE-4A845A52D83C}"/>
              </a:ext>
            </a:extLst>
          </p:cNvPr>
          <p:cNvSpPr txBox="1"/>
          <p:nvPr/>
        </p:nvSpPr>
        <p:spPr>
          <a:xfrm>
            <a:off x="407988" y="2577417"/>
            <a:ext cx="655467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Tribes statt regionale Verbindunge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9C65D3B-A711-FF71-3257-300D9DCE0CD4}"/>
              </a:ext>
            </a:extLst>
          </p:cNvPr>
          <p:cNvSpPr txBox="1"/>
          <p:nvPr/>
        </p:nvSpPr>
        <p:spPr>
          <a:xfrm>
            <a:off x="5518584" y="998983"/>
            <a:ext cx="598080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Digitale Zwillinge und Simulatio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C49789F7-18CC-7687-1F6E-8107C28BAAAB}"/>
              </a:ext>
            </a:extLst>
          </p:cNvPr>
          <p:cNvSpPr txBox="1"/>
          <p:nvPr/>
        </p:nvSpPr>
        <p:spPr>
          <a:xfrm>
            <a:off x="7873176" y="1298108"/>
            <a:ext cx="2415726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Zero </a:t>
            </a:r>
            <a:r>
              <a:rPr lang="de-DE" dirty="0" err="1">
                <a:solidFill>
                  <a:schemeClr val="accent4"/>
                </a:solidFill>
              </a:rPr>
              <a:t>Emisson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7411DAC-F8CD-C102-B6D2-95ED159E73BF}"/>
              </a:ext>
            </a:extLst>
          </p:cNvPr>
          <p:cNvSpPr txBox="1"/>
          <p:nvPr/>
        </p:nvSpPr>
        <p:spPr>
          <a:xfrm>
            <a:off x="1067478" y="5575254"/>
            <a:ext cx="3855223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Digitale Souveränitä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2F18552-EC52-8A86-0D23-F56A2C4D9139}"/>
              </a:ext>
            </a:extLst>
          </p:cNvPr>
          <p:cNvSpPr txBox="1"/>
          <p:nvPr/>
        </p:nvSpPr>
        <p:spPr>
          <a:xfrm>
            <a:off x="7187813" y="5639485"/>
            <a:ext cx="279724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Just-In-Time SC</a:t>
            </a:r>
          </a:p>
        </p:txBody>
      </p:sp>
    </p:spTree>
    <p:extLst>
      <p:ext uri="{BB962C8B-B14F-4D97-AF65-F5344CB8AC3E}">
        <p14:creationId xmlns:p14="http://schemas.microsoft.com/office/powerpoint/2010/main" val="215258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2" grpId="0"/>
      <p:bldP spid="33" grpId="0"/>
      <p:bldP spid="35" grpId="0"/>
      <p:bldP spid="36" grpId="0"/>
      <p:bldP spid="37" grpId="0"/>
      <p:bldP spid="38" grpId="0"/>
      <p:bldP spid="39" grpId="0"/>
      <p:bldP spid="40" grpId="0"/>
      <p:bldP spid="34" grpId="0"/>
      <p:bldP spid="42" grpId="0"/>
      <p:bldP spid="4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7506A-7430-72E8-DCAE-96202AC460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BFC605CC-9867-558D-F8F9-62227542A66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53"/>
            <a:ext cx="12192001" cy="687223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66BDB07-5722-DE55-F829-0F4D7101539C}"/>
              </a:ext>
            </a:extLst>
          </p:cNvPr>
          <p:cNvSpPr/>
          <p:nvPr/>
        </p:nvSpPr>
        <p:spPr>
          <a:xfrm>
            <a:off x="-1" y="53"/>
            <a:ext cx="12192001" cy="6872231"/>
          </a:xfrm>
          <a:prstGeom prst="rect">
            <a:avLst/>
          </a:prstGeom>
          <a:gradFill>
            <a:gsLst>
              <a:gs pos="0">
                <a:schemeClr val="accent1">
                  <a:alpha val="49000"/>
                </a:schemeClr>
              </a:gs>
              <a:gs pos="86000">
                <a:schemeClr val="accent1">
                  <a:alpha val="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82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5891FED0-1F5D-6E3A-5C0C-86146CC2CC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1018648"/>
            <a:ext cx="12192000" cy="583935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E9B0D1F-61C4-7FD5-0531-2B521910D0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8B55E36-567F-0C22-C0A8-1107DC85E6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CFEADB3-6FB1-0867-DE97-C24298A933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716F39B-7C5B-CF0E-1245-65C6D21D5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00252-63E7-4240-86F3-6BA42DE0C288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0D9581-8B19-9083-B6B0-AB92D054A5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0" y="1733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0" imgH="481" progId="TCLayout.ActiveDocument.1">
                  <p:embed/>
                </p:oleObj>
              </mc:Choice>
              <mc:Fallback>
                <p:oleObj name="think-cell Folie" r:id="rId5" imgW="480" imgH="4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50D9581-8B19-9083-B6B0-AB92D054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733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4">
            <a:extLst>
              <a:ext uri="{FF2B5EF4-FFF2-40B4-BE49-F238E27FC236}">
                <a16:creationId xmlns:a16="http://schemas.microsoft.com/office/drawing/2014/main" id="{8548B5B8-E441-E822-814E-1F243EF04A72}"/>
              </a:ext>
            </a:extLst>
          </p:cNvPr>
          <p:cNvSpPr txBox="1">
            <a:spLocks/>
          </p:cNvSpPr>
          <p:nvPr/>
        </p:nvSpPr>
        <p:spPr bwMode="gray">
          <a:xfrm>
            <a:off x="1056357" y="470779"/>
            <a:ext cx="9474152" cy="582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  <a:buClrTx/>
            </a:pPr>
            <a:r>
              <a:rPr lang="en-GB" dirty="0">
                <a:solidFill>
                  <a:schemeClr val="bg1"/>
                </a:solidFill>
              </a:rPr>
              <a:t>Das </a:t>
            </a:r>
            <a:r>
              <a:rPr lang="en-GB" dirty="0" err="1">
                <a:solidFill>
                  <a:schemeClr val="bg1"/>
                </a:solidFill>
              </a:rPr>
              <a:t>Universum</a:t>
            </a:r>
            <a:r>
              <a:rPr lang="en-GB" dirty="0">
                <a:solidFill>
                  <a:schemeClr val="bg1"/>
                </a:solidFill>
              </a:rPr>
              <a:t>  - </a:t>
            </a:r>
            <a:r>
              <a:rPr lang="en-GB" dirty="0" err="1">
                <a:solidFill>
                  <a:schemeClr val="bg1"/>
                </a:solidFill>
              </a:rPr>
              <a:t>Anforderunge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F302348-C52D-7028-8547-14F8529DBDB6}"/>
              </a:ext>
            </a:extLst>
          </p:cNvPr>
          <p:cNvSpPr txBox="1"/>
          <p:nvPr/>
        </p:nvSpPr>
        <p:spPr>
          <a:xfrm>
            <a:off x="407988" y="3147150"/>
            <a:ext cx="188352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Smart City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73BDB8C-AF5A-6177-0B87-14974BD64777}"/>
              </a:ext>
            </a:extLst>
          </p:cNvPr>
          <p:cNvSpPr txBox="1"/>
          <p:nvPr/>
        </p:nvSpPr>
        <p:spPr>
          <a:xfrm>
            <a:off x="2802563" y="1975173"/>
            <a:ext cx="278121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Schwammstad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A70C303E-BA97-8AEB-7F91-D57B1F15545F}"/>
              </a:ext>
            </a:extLst>
          </p:cNvPr>
          <p:cNvSpPr txBox="1"/>
          <p:nvPr/>
        </p:nvSpPr>
        <p:spPr>
          <a:xfrm>
            <a:off x="5300598" y="3381269"/>
            <a:ext cx="2039020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Zero </a:t>
            </a:r>
            <a:r>
              <a:rPr lang="de-DE" dirty="0" err="1">
                <a:solidFill>
                  <a:schemeClr val="accent4"/>
                </a:solidFill>
              </a:rPr>
              <a:t>Waste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A34D95E-4D33-0DA6-599E-EC3A317E632F}"/>
              </a:ext>
            </a:extLst>
          </p:cNvPr>
          <p:cNvSpPr txBox="1"/>
          <p:nvPr/>
        </p:nvSpPr>
        <p:spPr>
          <a:xfrm>
            <a:off x="7873176" y="1298108"/>
            <a:ext cx="2415726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Zero </a:t>
            </a:r>
            <a:r>
              <a:rPr lang="de-DE" dirty="0" err="1">
                <a:solidFill>
                  <a:schemeClr val="accent4"/>
                </a:solidFill>
              </a:rPr>
              <a:t>Emisson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3AB39DD-43CB-FF2A-A649-F7607AC3F96C}"/>
              </a:ext>
            </a:extLst>
          </p:cNvPr>
          <p:cNvSpPr txBox="1"/>
          <p:nvPr/>
        </p:nvSpPr>
        <p:spPr>
          <a:xfrm>
            <a:off x="5255833" y="5511322"/>
            <a:ext cx="3776675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Autofreie Innenstadt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020ABFB3-D59E-71C3-89AF-A91A29417644}"/>
              </a:ext>
            </a:extLst>
          </p:cNvPr>
          <p:cNvSpPr txBox="1"/>
          <p:nvPr/>
        </p:nvSpPr>
        <p:spPr>
          <a:xfrm>
            <a:off x="1314609" y="4367190"/>
            <a:ext cx="4967707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Anspruch an Reise-Comfo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FB9D610D-4353-D40C-3300-FC7689B1BDB0}"/>
              </a:ext>
            </a:extLst>
          </p:cNvPr>
          <p:cNvSpPr txBox="1"/>
          <p:nvPr/>
        </p:nvSpPr>
        <p:spPr>
          <a:xfrm>
            <a:off x="7100716" y="2133574"/>
            <a:ext cx="4095673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Barrierefreie Mobilitä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F37B834B-311D-29A8-721A-F9C0B2F2FDD4}"/>
              </a:ext>
            </a:extLst>
          </p:cNvPr>
          <p:cNvSpPr txBox="1"/>
          <p:nvPr/>
        </p:nvSpPr>
        <p:spPr>
          <a:xfrm>
            <a:off x="7636451" y="3721820"/>
            <a:ext cx="2181687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Lieferungen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BB9A17E-42E4-7E01-D192-8D8BDC5AE9F3}"/>
              </a:ext>
            </a:extLst>
          </p:cNvPr>
          <p:cNvSpPr txBox="1"/>
          <p:nvPr/>
        </p:nvSpPr>
        <p:spPr>
          <a:xfrm>
            <a:off x="1245957" y="1354261"/>
            <a:ext cx="2228174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4"/>
                </a:solidFill>
              </a:rPr>
              <a:t>Regionalitä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40646117-F740-E204-11BF-CBE4504B9D84}"/>
              </a:ext>
            </a:extLst>
          </p:cNvPr>
          <p:cNvSpPr txBox="1"/>
          <p:nvPr/>
        </p:nvSpPr>
        <p:spPr>
          <a:xfrm>
            <a:off x="484840" y="2516979"/>
            <a:ext cx="6554679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Tribes statt regionale Verbindungen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CF1591E-CA3C-9465-6A21-97719CEA4CE4}"/>
              </a:ext>
            </a:extLst>
          </p:cNvPr>
          <p:cNvSpPr/>
          <p:nvPr/>
        </p:nvSpPr>
        <p:spPr>
          <a:xfrm>
            <a:off x="4172000" y="3074754"/>
            <a:ext cx="3573407" cy="1429966"/>
          </a:xfrm>
          <a:prstGeom prst="roundRect">
            <a:avLst>
              <a:gd name="adj" fmla="val 50000"/>
            </a:avLst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998" cap="flat">
            <a:noFill/>
            <a:prstDash val="solid"/>
            <a:miter/>
          </a:ln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None/>
            </a:pPr>
            <a:r>
              <a:rPr lang="de-DE" sz="2800" b="1" dirty="0">
                <a:solidFill>
                  <a:schemeClr val="bg1"/>
                </a:solidFill>
              </a:rPr>
              <a:t>Anforderungen </a:t>
            </a:r>
          </a:p>
          <a:p>
            <a:pPr marL="0" indent="0" algn="ctr">
              <a:buNone/>
            </a:pPr>
            <a:r>
              <a:rPr lang="de-DE" sz="2800" b="1" dirty="0">
                <a:solidFill>
                  <a:schemeClr val="bg1"/>
                </a:solidFill>
              </a:rPr>
              <a:t>von Mensch und Mitwel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0DEF4BC-1D25-A5B5-0916-A0387B455264}"/>
              </a:ext>
            </a:extLst>
          </p:cNvPr>
          <p:cNvSpPr txBox="1"/>
          <p:nvPr/>
        </p:nvSpPr>
        <p:spPr>
          <a:xfrm>
            <a:off x="7953126" y="5048456"/>
            <a:ext cx="2797241" cy="523220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0"/>
              </a:spcAft>
              <a:buClrTx/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accent2"/>
                </a:solidFill>
              </a:rPr>
              <a:t>Just-In-Time SC</a:t>
            </a:r>
          </a:p>
        </p:txBody>
      </p:sp>
    </p:spTree>
    <p:extLst>
      <p:ext uri="{BB962C8B-B14F-4D97-AF65-F5344CB8AC3E}">
        <p14:creationId xmlns:p14="http://schemas.microsoft.com/office/powerpoint/2010/main" val="302719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7" grpId="0" animBg="1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esso Master">
  <a:themeElements>
    <a:clrScheme name="adesso1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adesso1">
      <a:majorFont>
        <a:latin typeface="Fira Sans Condensed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rtlCol="0" anchor="ctr"/>
      <a:lstStyle>
        <a:defPPr algn="l">
          <a:buClr>
            <a:schemeClr val="bg1"/>
          </a:buClr>
          <a:defRPr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custClrLst>
    <a:custClr name="adesso-grey">
      <a:srgbClr val="887D75"/>
    </a:custClr>
    <a:custClr name="adesso-grey 70%">
      <a:srgbClr val="ACA49E"/>
    </a:custClr>
    <a:custClr name="adesso-grey 40%">
      <a:srgbClr val="CFCBC8"/>
    </a:custClr>
    <a:custClr name="adesso-grey 20%">
      <a:srgbClr val="E7E5E3"/>
    </a:custClr>
    <a:custClr>
      <a:srgbClr val="FFFFFF"/>
    </a:custClr>
    <a:custClr>
      <a:srgbClr val="FFFFFF"/>
    </a:custClr>
    <a:custClr>
      <a:srgbClr val="FFFFFF"/>
    </a:custClr>
    <a:custClr name="Traffic light red">
      <a:srgbClr val="EE0000"/>
    </a:custClr>
    <a:custClr name="Traffic light yellow">
      <a:srgbClr val="FFC000"/>
    </a:custClr>
    <a:custClr name="Traffic light green">
      <a:srgbClr val="76C800"/>
    </a:custClr>
    <a:custClr name="Turkis">
      <a:srgbClr val="28DCAA"/>
    </a:custClr>
    <a:custClr name="Turkis 70%">
      <a:srgbClr val="69E7C4"/>
    </a:custClr>
    <a:custClr name="Türkis 40%">
      <a:srgbClr val="A9F1DD"/>
    </a:custClr>
    <a:custClr name="Türkis 20%">
      <a:srgbClr val="D4F8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Violet">
      <a:srgbClr val="461EBE"/>
    </a:custClr>
    <a:custClr name="Violet 70%">
      <a:srgbClr val="7D61D2"/>
    </a:custClr>
    <a:custClr name="Violet 40%">
      <a:srgbClr val="B5A5E5"/>
    </a:custClr>
    <a:custClr name="Violet 20%">
      <a:srgbClr val="DAD2F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k">
      <a:srgbClr val="F566BA"/>
    </a:custClr>
    <a:custClr name="Pink 70%">
      <a:srgbClr val="F894CF"/>
    </a:custClr>
    <a:custClr name="Pink 40%">
      <a:srgbClr val="FBC2E3"/>
    </a:custClr>
    <a:custClr name="Pink 20%">
      <a:srgbClr val="FDE0F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Orange">
      <a:srgbClr val="FF9868"/>
    </a:custClr>
    <a:custClr name="Orange 70%">
      <a:srgbClr val="FFB795"/>
    </a:custClr>
    <a:custClr name="Orange 40%">
      <a:srgbClr val="FFD6C3"/>
    </a:custClr>
    <a:custClr name="Orange 20%">
      <a:srgbClr val="FFEAE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adesso PPT-Master.potx" id="{E2BB7154-F82B-4469-8AD5-02A8AC4C931A}" vid="{31A395E7-0E78-4B7C-87FF-89EE829C975E}"/>
    </a:ext>
  </a:extLst>
</a:theme>
</file>

<file path=ppt/theme/theme2.xml><?xml version="1.0" encoding="utf-8"?>
<a:theme xmlns:a="http://schemas.openxmlformats.org/drawingml/2006/main" name="Office">
  <a:themeElements>
    <a:clrScheme name="_adesso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_adesso">
      <a:majorFont>
        <a:latin typeface="Fira Sans Condensed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_adesso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_adesso">
      <a:majorFont>
        <a:latin typeface="Fira Sans Condensed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C14B6D00724A4D9F2B6BAAE784B9DF" ma:contentTypeVersion="13" ma:contentTypeDescription="Create a new document." ma:contentTypeScope="" ma:versionID="153129a0e0accb0b4acc08d120ae01a4">
  <xsd:schema xmlns:xsd="http://www.w3.org/2001/XMLSchema" xmlns:xs="http://www.w3.org/2001/XMLSchema" xmlns:p="http://schemas.microsoft.com/office/2006/metadata/properties" xmlns:ns2="4b11626b-d93f-4c63-b930-3f4c766eb0ec" xmlns:ns3="2bbd884b-2238-46d9-80a2-2dd8191512de" targetNamespace="http://schemas.microsoft.com/office/2006/metadata/properties" ma:root="true" ma:fieldsID="e77260b991c054a9004e7046665321f1" ns2:_="" ns3:_="">
    <xsd:import namespace="4b11626b-d93f-4c63-b930-3f4c766eb0ec"/>
    <xsd:import namespace="2bbd884b-2238-46d9-80a2-2dd8191512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11626b-d93f-4c63-b930-3f4c766eb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b2170c6a-3c1e-44b5-95ed-5ceb41d8bc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bd884b-2238-46d9-80a2-2dd8191512de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3cd13c5-35b0-45ac-98fb-0df47118c3bc}" ma:internalName="TaxCatchAll" ma:showField="CatchAllData" ma:web="2bbd884b-2238-46d9-80a2-2dd8191512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11626b-d93f-4c63-b930-3f4c766eb0ec">
      <Terms xmlns="http://schemas.microsoft.com/office/infopath/2007/PartnerControls"/>
    </lcf76f155ced4ddcb4097134ff3c332f>
    <TaxCatchAll xmlns="2bbd884b-2238-46d9-80a2-2dd8191512d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D32B78-6CF1-495D-A736-C354ADA9A0EC}"/>
</file>

<file path=customXml/itemProps2.xml><?xml version="1.0" encoding="utf-8"?>
<ds:datastoreItem xmlns:ds="http://schemas.openxmlformats.org/officeDocument/2006/customXml" ds:itemID="{FD22401F-FDB9-47A8-ADDE-3994B287C535}">
  <ds:schemaRefs>
    <ds:schemaRef ds:uri="http://www.w3.org/XML/1998/namespace"/>
    <ds:schemaRef ds:uri="a65ef097-a42c-4340-9481-ed9819444e08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eddc464-98a3-439c-85a4-ac8be711553a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710FE7F-CFAC-48EE-BD18-61923CD8BF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esso PPT-Master (2)</Template>
  <TotalTime>0</TotalTime>
  <Words>780</Words>
  <Application>Microsoft Office PowerPoint</Application>
  <PresentationFormat>Breitbild</PresentationFormat>
  <Paragraphs>166</Paragraphs>
  <Slides>18</Slides>
  <Notes>7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Fira Sans</vt:lpstr>
      <vt:lpstr>Fira Sans Condensed</vt:lpstr>
      <vt:lpstr>Segoe UI</vt:lpstr>
      <vt:lpstr>Symbol</vt:lpstr>
      <vt:lpstr>adesso Master</vt:lpstr>
      <vt:lpstr>think-cell Folie</vt:lpstr>
      <vt:lpstr>Verkehr als  Cyberphysisches System </vt:lpstr>
      <vt:lpstr>Jessica Ramhab Research Consultant bei adesso</vt:lpstr>
      <vt:lpstr>Probleme</vt:lpstr>
      <vt:lpstr>Das Problem als Problem</vt:lpstr>
      <vt:lpstr>PowerPoint-Präsentation</vt:lpstr>
      <vt:lpstr>PowerPoint-Präsentation</vt:lpstr>
      <vt:lpstr>Kurze Reise durch aktuelle Themenfelder </vt:lpstr>
      <vt:lpstr>PowerPoint-Präsentation</vt:lpstr>
      <vt:lpstr>PowerPoint-Präsentation</vt:lpstr>
      <vt:lpstr>PowerPoint-Präsentation</vt:lpstr>
      <vt:lpstr>PowerPoint-Präsentation</vt:lpstr>
      <vt:lpstr>Erste Lichtblicke</vt:lpstr>
      <vt:lpstr>ÖPNV als Schlüsselakteur der Verkehrswende</vt:lpstr>
      <vt:lpstr>SyntheSIS als Beispiel für “advanced Co-Creation”</vt:lpstr>
      <vt:lpstr>SyntheSIS als Beispiel für Beispiel “advanced Co-Creation”</vt:lpstr>
      <vt:lpstr>NeMo.bil als Beispiel eines Cyberphysischen Systems</vt:lpstr>
      <vt:lpstr>NeMo.bil als Beispiel eines Cyberphysischen System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osten, Iris</dc:creator>
  <dc:description>Optimized for Office 365</dc:description>
  <cp:lastModifiedBy>Ramhab, Jessica</cp:lastModifiedBy>
  <cp:revision>2</cp:revision>
  <dcterms:created xsi:type="dcterms:W3CDTF">2025-06-29T15:12:49Z</dcterms:created>
  <dcterms:modified xsi:type="dcterms:W3CDTF">2025-11-18T16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20C14B6D00724A4D9F2B6BAAE784B9DF</vt:lpwstr>
  </property>
</Properties>
</file>